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908" r:id="rId2"/>
    <p:sldId id="896" r:id="rId3"/>
    <p:sldId id="897" r:id="rId4"/>
    <p:sldId id="898" r:id="rId5"/>
    <p:sldId id="899" r:id="rId6"/>
    <p:sldId id="900" r:id="rId7"/>
    <p:sldId id="901" r:id="rId8"/>
    <p:sldId id="902" r:id="rId9"/>
    <p:sldId id="903" r:id="rId10"/>
    <p:sldId id="904" r:id="rId11"/>
    <p:sldId id="905" r:id="rId12"/>
    <p:sldId id="906" r:id="rId13"/>
    <p:sldId id="907" r:id="rId14"/>
    <p:sldId id="890" r:id="rId15"/>
    <p:sldId id="891" r:id="rId16"/>
    <p:sldId id="892" r:id="rId17"/>
    <p:sldId id="893" r:id="rId18"/>
    <p:sldId id="894" r:id="rId19"/>
    <p:sldId id="895" r:id="rId20"/>
    <p:sldId id="647" r:id="rId2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99AEC10F-0E7E-4444-B485-B821C3F4A0AF}">
          <p14:sldIdLst/>
        </p14:section>
        <p14:section name="ARTIK Overview" id="{7D2F8F11-49C5-844F-A887-DF8955B18191}">
          <p14:sldIdLst>
            <p14:sldId id="908"/>
            <p14:sldId id="896"/>
            <p14:sldId id="897"/>
            <p14:sldId id="898"/>
            <p14:sldId id="899"/>
            <p14:sldId id="900"/>
            <p14:sldId id="901"/>
            <p14:sldId id="902"/>
            <p14:sldId id="903"/>
            <p14:sldId id="904"/>
            <p14:sldId id="905"/>
            <p14:sldId id="906"/>
            <p14:sldId id="907"/>
            <p14:sldId id="890"/>
            <p14:sldId id="891"/>
            <p14:sldId id="892"/>
            <p14:sldId id="893"/>
            <p14:sldId id="894"/>
            <p14:sldId id="895"/>
          </p14:sldIdLst>
        </p14:section>
        <p14:section name="Appendix" id="{04FC9878-6C71-B944-9CCA-FF83891ACF5D}">
          <p14:sldIdLst>
            <p14:sldId id="647"/>
          </p14:sldIdLst>
        </p14:section>
        <p14:section name="Roadmaps (no NDA)" id="{9DFE5254-A266-6E4F-A721-4AA6608D34FE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323" userDrawn="1">
          <p15:clr>
            <a:srgbClr val="A4A3A4"/>
          </p15:clr>
        </p15:guide>
        <p15:guide id="2" pos="3795" userDrawn="1">
          <p15:clr>
            <a:srgbClr val="A4A3A4"/>
          </p15:clr>
        </p15:guide>
        <p15:guide id="3" orient="horz" pos="2659" userDrawn="1">
          <p15:clr>
            <a:srgbClr val="A4A3A4"/>
          </p15:clr>
        </p15:guide>
        <p15:guide id="4" orient="horz" pos="504" userDrawn="1">
          <p15:clr>
            <a:srgbClr val="A4A3A4"/>
          </p15:clr>
        </p15:guide>
        <p15:guide id="5" orient="horz" pos="4020" userDrawn="1">
          <p15:clr>
            <a:srgbClr val="A4A3A4"/>
          </p15:clr>
        </p15:guide>
        <p15:guide id="6" pos="438" userDrawn="1">
          <p15:clr>
            <a:srgbClr val="A4A3A4"/>
          </p15:clr>
        </p15:guide>
        <p15:guide id="7" pos="7242" userDrawn="1">
          <p15:clr>
            <a:srgbClr val="A4A3A4"/>
          </p15:clr>
        </p15:guide>
        <p15:guide id="8" orient="horz" pos="341">
          <p15:clr>
            <a:srgbClr val="A4A3A4"/>
          </p15:clr>
        </p15:guide>
        <p15:guide id="9" orient="horz" pos="3261">
          <p15:clr>
            <a:srgbClr val="A4A3A4"/>
          </p15:clr>
        </p15:guide>
        <p15:guide id="10" orient="horz" pos="4226">
          <p15:clr>
            <a:srgbClr val="A4A3A4"/>
          </p15:clr>
        </p15:guide>
        <p15:guide id="11" orient="horz" pos="3672">
          <p15:clr>
            <a:srgbClr val="A4A3A4"/>
          </p15:clr>
        </p15:guide>
        <p15:guide id="12" orient="horz" pos="2162">
          <p15:clr>
            <a:srgbClr val="A4A3A4"/>
          </p15:clr>
        </p15:guide>
        <p15:guide id="13" orient="horz" pos="3052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pos="5545">
          <p15:clr>
            <a:srgbClr val="A4A3A4"/>
          </p15:clr>
        </p15:guide>
        <p15:guide id="16" pos="7239">
          <p15:clr>
            <a:srgbClr val="A4A3A4"/>
          </p15:clr>
        </p15:guide>
        <p15:guide id="17" pos="432">
          <p15:clr>
            <a:srgbClr val="A4A3A4"/>
          </p15:clr>
        </p15:guide>
        <p15:guide id="18" pos="4952">
          <p15:clr>
            <a:srgbClr val="A4A3A4"/>
          </p15:clr>
        </p15:guide>
        <p15:guide id="19" pos="2145">
          <p15:clr>
            <a:srgbClr val="A4A3A4"/>
          </p15:clr>
        </p15:guide>
        <p15:guide id="20" pos="3836">
          <p15:clr>
            <a:srgbClr val="A4A3A4"/>
          </p15:clr>
        </p15:guide>
        <p15:guide id="21" pos="31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62A"/>
    <a:srgbClr val="FFF3CC"/>
    <a:srgbClr val="DF752F"/>
    <a:srgbClr val="EDDFB4"/>
    <a:srgbClr val="FDF1CB"/>
    <a:srgbClr val="F5DE7B"/>
    <a:srgbClr val="DFD093"/>
    <a:srgbClr val="D0C394"/>
    <a:srgbClr val="E0F0FF"/>
    <a:srgbClr val="F0E2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83" autoAdjust="0"/>
    <p:restoredTop sz="72420" autoAdjust="0"/>
  </p:normalViewPr>
  <p:slideViewPr>
    <p:cSldViewPr snapToGrid="0" snapToObjects="1" showGuides="1">
      <p:cViewPr>
        <p:scale>
          <a:sx n="108" d="100"/>
          <a:sy n="108" d="100"/>
        </p:scale>
        <p:origin x="-568" y="1296"/>
      </p:cViewPr>
      <p:guideLst>
        <p:guide orient="horz" pos="2634"/>
        <p:guide orient="horz" pos="3302"/>
        <p:guide orient="horz" pos="3861"/>
        <p:guide orient="horz" pos="3731"/>
        <p:guide orient="horz" pos="2189"/>
        <p:guide orient="horz" pos="4048"/>
        <p:guide orient="horz" pos="323"/>
        <p:guide pos="6964"/>
        <p:guide pos="6062"/>
        <p:guide pos="2468"/>
        <p:guide pos="1832"/>
        <p:guide pos="3881"/>
        <p:guide pos="2796"/>
      </p:guideLst>
    </p:cSldViewPr>
  </p:slideViewPr>
  <p:outlineViewPr>
    <p:cViewPr>
      <p:scale>
        <a:sx n="33" d="100"/>
        <a:sy n="33" d="100"/>
      </p:scale>
      <p:origin x="0" y="2165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 showGuides="1">
      <p:cViewPr varScale="1">
        <p:scale>
          <a:sx n="162" d="100"/>
          <a:sy n="162" d="100"/>
        </p:scale>
        <p:origin x="-4144" y="-112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handoutMaster" Target="handoutMasters/handoutMaster1.xml"/><Relationship Id="rId24" Type="http://schemas.openxmlformats.org/officeDocument/2006/relationships/printerSettings" Target="printerSettings/printerSettings1.bin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5088AD-456D-4857-80EB-378D1CD3C89F}" type="datetimeFigureOut">
              <a:rPr lang="en-US" smtClean="0"/>
              <a:t>10/29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270237-897B-427D-B86E-A664C6C1A9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95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317659F-3183-1E47-8229-3365879FC872}" type="datetimeFigureOut">
              <a:rPr lang="en-US" smtClean="0"/>
              <a:t>10/2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8F5641-491C-4C42-800B-E98D1F795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4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800" kern="1200">
        <a:solidFill>
          <a:schemeClr val="tx1"/>
        </a:solidFill>
        <a:latin typeface="Arial"/>
        <a:ea typeface="+mn-ea"/>
        <a:cs typeface="Arial"/>
      </a:defRPr>
    </a:lvl1pPr>
    <a:lvl2pPr marL="457200" algn="l" defTabSz="914400" rtl="0" eaLnBrk="1" latinLnBrk="0" hangingPunct="1">
      <a:defRPr sz="800" kern="1200">
        <a:solidFill>
          <a:schemeClr val="tx1"/>
        </a:solidFill>
        <a:latin typeface="Arial"/>
        <a:ea typeface="+mn-ea"/>
        <a:cs typeface="Arial"/>
      </a:defRPr>
    </a:lvl2pPr>
    <a:lvl3pPr marL="914400" algn="l" defTabSz="914400" rtl="0" eaLnBrk="1" latinLnBrk="0" hangingPunct="1">
      <a:defRPr sz="800" kern="1200">
        <a:solidFill>
          <a:schemeClr val="tx1"/>
        </a:solidFill>
        <a:latin typeface="Arial"/>
        <a:ea typeface="+mn-ea"/>
        <a:cs typeface="Arial"/>
      </a:defRPr>
    </a:lvl3pPr>
    <a:lvl4pPr marL="1371600" algn="l" defTabSz="914400" rtl="0" eaLnBrk="1" latinLnBrk="0" hangingPunct="1">
      <a:defRPr sz="800" kern="1200">
        <a:solidFill>
          <a:schemeClr val="tx1"/>
        </a:solidFill>
        <a:latin typeface="Arial"/>
        <a:ea typeface="+mn-ea"/>
        <a:cs typeface="Arial"/>
      </a:defRPr>
    </a:lvl4pPr>
    <a:lvl5pPr marL="1828800" algn="l" defTabSz="914400" rtl="0" eaLnBrk="1" latinLnBrk="0" hangingPunct="1">
      <a:defRPr sz="800" kern="1200">
        <a:solidFill>
          <a:schemeClr val="tx1"/>
        </a:solidFill>
        <a:latin typeface="Arial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Relationship Id="rId3" Type="http://schemas.openxmlformats.org/officeDocument/2006/relationships/hyperlink" Target="http://www.ibm.com/podcasts/software/websphere/connectivity/piper_diaz_nipper_mq_tt_11182011.pdf" TargetMode="Externa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3054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201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4497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201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3054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QTT was invented by Andy Stanford-Clark (IBM) and Arlen Nipper (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now Cirrus Link) back in 1999, when their use case was to create a protocol for minimal battery loss and minimal bandwidth 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nnecting oil pipelines over satellite connectio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hey specified the following goals, which the future protocol should have: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to implement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 a Quality of Service Data Delivery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ghtweight and Bandwidth Efficient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Agnostic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uous Session Awarenes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817A62-8B7F-544B-A04F-351FC5B25A9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7088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architecture</a:t>
            </a:r>
            <a:r>
              <a:rPr lang="en-US" baseline="0" dirty="0" smtClean="0"/>
              <a:t> decouples the publisher and subscriber. They do not have to know each other and do not need to run at the same time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Can a client be a publisher and subscriber at the same time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817A62-8B7F-544B-A04F-351FC5B25A9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708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817A62-8B7F-544B-A04F-351FC5B25A9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4987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305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dirty="0" smtClean="0"/>
              <a:t>FCC (US), IC(Canada),</a:t>
            </a:r>
            <a:r>
              <a:rPr lang="en-US" sz="1600" baseline="0" dirty="0" smtClean="0"/>
              <a:t> CE(EU), KC(Korea), SRRC(China)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124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600" dirty="0" smtClean="0"/>
              <a:t>Same platform board for 053 and 055. </a:t>
            </a:r>
          </a:p>
          <a:p>
            <a:endParaRPr lang="en-US" altLang="ko-KR" sz="16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/>
              <a:t>For ARTIK053s module, the 5V-12V signal is input directly</a:t>
            </a:r>
            <a:r>
              <a:rPr lang="en-US" sz="1600" baseline="0" dirty="0" smtClean="0"/>
              <a:t> into the module. For ARTIK055s module, 5V-12V signal passes through a DC/DC converter on the 055s Interposer board, which reduces the input voltage to 3.3V.</a:t>
            </a:r>
            <a:endParaRPr lang="en-US" sz="1600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DBC64-10CB-4B18-AD0D-CED60185015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131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WiFi</a:t>
            </a:r>
            <a:r>
              <a:rPr lang="en-US" dirty="0" smtClean="0"/>
              <a:t> Throughput varies depending on applications, distance, test environment etc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PA</a:t>
            </a:r>
            <a:r>
              <a:rPr lang="en-US" baseline="0" dirty="0" smtClean="0"/>
              <a:t> and WPA2 are two of the security measures that can be used to protect wireless networks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374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duce</a:t>
            </a:r>
            <a:r>
              <a:rPr lang="en-US" baseline="0" dirty="0" smtClean="0"/>
              <a:t> AP R4 320MHz-&gt;26Hz Idle (wait in Idle mode). Sj5_idle.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55mA normal cases</a:t>
            </a:r>
          </a:p>
          <a:p>
            <a:r>
              <a:rPr lang="en-US" baseline="0" dirty="0" smtClean="0"/>
              <a:t>48mA </a:t>
            </a:r>
            <a:r>
              <a:rPr lang="en-US" baseline="0" dirty="0" err="1" smtClean="0"/>
              <a:t>WiFi</a:t>
            </a:r>
            <a:r>
              <a:rPr lang="en-US" baseline="0" dirty="0" smtClean="0"/>
              <a:t> (DTIM 1? DTIM 3?) </a:t>
            </a:r>
          </a:p>
          <a:p>
            <a:r>
              <a:rPr lang="en-US" baseline="0" dirty="0" smtClean="0"/>
              <a:t>28mA 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96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 C has to work just about everywhere. So it assumes only a simple view of its environment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is designed for  powerful operating system</a:t>
            </a:r>
            <a:r>
              <a:rPr lang="en-US" sz="800" kern="1200" baseline="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like Linux.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/>
            </a:r>
            <a:b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</a:b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/>
            </a:r>
            <a:b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</a:b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s one example, look at signals. With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you can send a signal to another process via the kill() system call. You specify which process gets the signal by supplying a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id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only has a wimpy raise() which lets a process send a signal to itself. This is because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does not assume that it is even possible to run several processes at once. You won't find a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id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in any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call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demands multiple processes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does not.</a:t>
            </a:r>
          </a:p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 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09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 C has to work just about everywhere. So it assumes only a simple view of its environment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is designed for  powerful operating system</a:t>
            </a:r>
            <a:r>
              <a:rPr lang="en-US" sz="800" kern="1200" baseline="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like Linux.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/>
            </a:r>
            <a:b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</a:b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/>
            </a:r>
            <a:b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</a:b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s one example, look at signals. With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you can send a signal to another process via the kill() system call. You specify which process gets the signal by supplying a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id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only has a wimpy raise() which lets a process send a signal to itself. This is because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does not assume that it is even possible to run several processes at once. You won't find a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id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in any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call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osix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demands multiple processes. </a:t>
            </a:r>
            <a:r>
              <a:rPr lang="en-US" sz="8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nsi</a:t>
            </a:r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 C does not.</a:t>
            </a:r>
          </a:p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 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09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2216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MODBUS is a protocol between a host (master) and devices (slaves) to access the configuration of the devices and to read the measures. </a:t>
            </a:r>
          </a:p>
          <a:p>
            <a:r>
              <a:rPr lang="en-US" sz="8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As there can be several devices connected in parallel on the RS485 bus, each slave device must use a unique MODBUS Slave ID on the bus.  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F5641-491C-4C42-800B-E98D1F7959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060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4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474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6809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7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97" y="987443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7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4789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S Pla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Guides (use to reset when guides </a:t>
            </a:r>
            <a:r>
              <a:rPr lang="en-US" dirty="0" err="1" smtClean="0"/>
              <a:t>effed</a:t>
            </a:r>
            <a:r>
              <a:rPr lang="en-US" dirty="0" smtClean="0"/>
              <a:t> up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687388" y="3431050"/>
            <a:ext cx="10807700" cy="2389011"/>
            <a:chOff x="687388" y="3367549"/>
            <a:chExt cx="10807700" cy="2389011"/>
          </a:xfrm>
        </p:grpSpPr>
        <p:sp>
          <p:nvSpPr>
            <p:cNvPr id="5" name="Rectangle 4"/>
            <p:cNvSpPr/>
            <p:nvPr userDrawn="1"/>
          </p:nvSpPr>
          <p:spPr>
            <a:xfrm>
              <a:off x="694944" y="3367549"/>
              <a:ext cx="1079500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694944" y="3685049"/>
              <a:ext cx="539750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698500" y="4002549"/>
              <a:ext cx="269875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6097588" y="4042642"/>
              <a:ext cx="539750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6101144" y="4360142"/>
              <a:ext cx="269875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87388" y="5121560"/>
              <a:ext cx="359410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4281488" y="5439060"/>
              <a:ext cx="3594100" cy="3175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/>
          <p:cNvSpPr/>
          <p:nvPr userDrawn="1"/>
        </p:nvSpPr>
        <p:spPr>
          <a:xfrm>
            <a:off x="7882818" y="5237147"/>
            <a:ext cx="35941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373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Photo Ghoste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5881767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3"/>
          <p:cNvSpPr/>
          <p:nvPr userDrawn="1"/>
        </p:nvSpPr>
        <p:spPr>
          <a:xfrm>
            <a:off x="9769984" y="6532529"/>
            <a:ext cx="2046985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lang="en-US" sz="1400" b="0" spc="0" dirty="0" smtClean="0">
                <a:solidFill>
                  <a:srgbClr val="000000"/>
                </a:solidFill>
                <a:latin typeface="+mn-lt"/>
              </a:rPr>
              <a:t>SAMSUNG </a:t>
            </a:r>
            <a:r>
              <a:rPr sz="1400" b="0" spc="0" dirty="0" smtClean="0">
                <a:solidFill>
                  <a:srgbClr val="000000"/>
                </a:solidFill>
                <a:latin typeface="+mn-lt"/>
              </a:rPr>
              <a:t>CONFIDENTIAL</a:t>
            </a:r>
            <a:endParaRPr sz="1400" b="0" spc="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6572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718" tIns="22858" rIns="45718" bIns="22858" anchor="b"/>
          <a:lstStyle>
            <a:lvl1pPr marL="0" marR="0" indent="0" algn="l" defTabSz="292083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2083" eaLnBrk="1" fontAlgn="auto" latinLnBrk="0" hangingPunct="1">
              <a:lnSpc>
                <a:spcPct val="100000"/>
              </a:lnSpc>
              <a:spcBef>
                <a:spcPts val="1851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913" tIns="60956" rIns="121913" bIns="60956"/>
          <a:lstStyle>
            <a:lvl1pPr marL="230704" indent="-230704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563" indent="-228586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8426" indent="-228586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1519" indent="-232820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8264" indent="-220120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6" tIns="35716" rIns="35716" bIns="35716" numCol="1" spcCol="19049" rtlCol="0" anchor="ctr">
            <a:noAutofit/>
          </a:bodyPr>
          <a:lstStyle/>
          <a:p>
            <a:pPr marL="0" marR="0" indent="0" algn="ctr" defTabSz="292083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358746" y="6524796"/>
            <a:ext cx="1233900" cy="30296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716" tIns="35716" rIns="35716" bIns="35716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5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5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21"/>
            <a:ext cx="681715" cy="226715"/>
          </a:xfrm>
          <a:prstGeom prst="rect">
            <a:avLst/>
          </a:prstGeom>
          <a:noFill/>
        </p:spPr>
        <p:txBody>
          <a:bodyPr vert="horz" lIns="45718" tIns="22858" rIns="45718" bIns="22858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5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5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5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0119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280293"/>
            <a:ext cx="10972800" cy="5054600"/>
          </a:xfrm>
          <a:prstGeom prst="rect">
            <a:avLst/>
          </a:prstGeom>
        </p:spPr>
        <p:txBody>
          <a:bodyPr lIns="121913" tIns="60956" rIns="121913" bIns="60956"/>
          <a:lstStyle>
            <a:lvl1pPr marL="230704" indent="-230704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/>
              <a:buChar char="o"/>
              <a:defRPr sz="1900">
                <a:solidFill>
                  <a:schemeClr val="bg2">
                    <a:lumMod val="10000"/>
                  </a:schemeClr>
                </a:solidFill>
                <a:latin typeface="Arial"/>
                <a:cs typeface="Arial"/>
              </a:defRPr>
            </a:lvl1pPr>
            <a:lvl2pPr marL="609563" indent="-228586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Arial"/>
                <a:cs typeface="Arial"/>
              </a:defRPr>
            </a:lvl2pPr>
            <a:lvl3pPr marL="988426" indent="-228586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Arial"/>
                <a:cs typeface="Arial"/>
              </a:defRPr>
            </a:lvl3pPr>
            <a:lvl4pPr marL="1371519" indent="-232820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Arial"/>
                <a:cs typeface="Arial"/>
              </a:defRPr>
            </a:lvl4pPr>
            <a:lvl5pPr marL="1748264" indent="-220120" algn="l">
              <a:spcBef>
                <a:spcPts val="8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6" tIns="35716" rIns="35716" bIns="35716" numCol="1" spcCol="19049" rtlCol="0" anchor="ctr">
            <a:noAutofit/>
          </a:bodyPr>
          <a:lstStyle/>
          <a:p>
            <a:pPr marL="0" marR="0" indent="0" algn="ctr" defTabSz="292083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358746" y="6524796"/>
            <a:ext cx="1233900" cy="30296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716" tIns="35716" rIns="35716" bIns="35716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5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5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21"/>
            <a:ext cx="681715" cy="226715"/>
          </a:xfrm>
          <a:prstGeom prst="rect">
            <a:avLst/>
          </a:prstGeom>
          <a:noFill/>
        </p:spPr>
        <p:txBody>
          <a:bodyPr vert="horz" lIns="45718" tIns="22858" rIns="45718" bIns="22858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5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5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5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9" y="508000"/>
            <a:ext cx="11063817" cy="406400"/>
          </a:xfrm>
          <a:prstGeom prst="rect">
            <a:avLst/>
          </a:prstGeom>
        </p:spPr>
        <p:txBody>
          <a:bodyPr lIns="45718" tIns="22858" rIns="45718" bIns="22858" anchor="b"/>
          <a:lstStyle>
            <a:lvl1pPr marL="0" marR="0" indent="0" algn="l" defTabSz="292083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400" b="1" spc="71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292083" eaLnBrk="1" fontAlgn="auto" latinLnBrk="0" hangingPunct="1">
              <a:lnSpc>
                <a:spcPct val="100000"/>
              </a:lnSpc>
              <a:spcBef>
                <a:spcPts val="1851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610" y="101600"/>
            <a:ext cx="11063817" cy="406400"/>
          </a:xfrm>
          <a:prstGeom prst="rect">
            <a:avLst/>
          </a:prstGeom>
        </p:spPr>
        <p:txBody>
          <a:bodyPr lIns="45718" tIns="22858" rIns="45718" bIns="22858" anchor="b"/>
          <a:lstStyle>
            <a:lvl1pPr marL="0" marR="0" indent="0" algn="l" defTabSz="292083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1300" b="0" spc="71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292083" eaLnBrk="1" fontAlgn="auto" latinLnBrk="0" hangingPunct="1">
              <a:lnSpc>
                <a:spcPct val="100000"/>
              </a:lnSpc>
              <a:spcBef>
                <a:spcPts val="1851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section</a:t>
            </a:r>
          </a:p>
        </p:txBody>
      </p:sp>
      <p:sp>
        <p:nvSpPr>
          <p:cNvPr id="10" name="Shape 6"/>
          <p:cNvSpPr/>
          <p:nvPr userDrawn="1"/>
        </p:nvSpPr>
        <p:spPr>
          <a:xfrm>
            <a:off x="609600" y="1024467"/>
            <a:ext cx="10972800" cy="0"/>
          </a:xfrm>
          <a:prstGeom prst="line">
            <a:avLst/>
          </a:prstGeom>
          <a:ln w="12700" cap="rnd" cmpd="sng">
            <a:solidFill>
              <a:schemeClr val="bg2">
                <a:lumMod val="10000"/>
              </a:schemeClr>
            </a:solidFill>
            <a:prstDash val="solid"/>
            <a:round/>
          </a:ln>
        </p:spPr>
        <p:txBody>
          <a:bodyPr lIns="0" tIns="0" rIns="0" bIns="0"/>
          <a:lstStyle/>
          <a:p>
            <a:pPr lvl="0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30874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" y="1253085"/>
            <a:ext cx="10972800" cy="448733"/>
          </a:xfrm>
          <a:prstGeom prst="rect">
            <a:avLst/>
          </a:prstGeom>
        </p:spPr>
        <p:txBody>
          <a:bodyPr lIns="45718" tIns="22858" rIns="45718" bIns="22858"/>
          <a:lstStyle>
            <a:lvl1pPr marL="0" indent="0" algn="l">
              <a:spcBef>
                <a:spcPts val="800"/>
              </a:spcBef>
              <a:buClr>
                <a:schemeClr val="tx2"/>
              </a:buClr>
              <a:buFont typeface="Courier New" panose="02070309020205020404" pitchFamily="49" charset="0"/>
              <a:buNone/>
              <a:defRPr sz="2100" b="0" spc="71" baseline="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hape 6"/>
          <p:cNvSpPr/>
          <p:nvPr userDrawn="1"/>
        </p:nvSpPr>
        <p:spPr>
          <a:xfrm>
            <a:off x="609600" y="1024467"/>
            <a:ext cx="10972800" cy="0"/>
          </a:xfrm>
          <a:prstGeom prst="line">
            <a:avLst/>
          </a:prstGeom>
          <a:ln w="12700" cap="rnd" cmpd="sng">
            <a:solidFill>
              <a:schemeClr val="bg2">
                <a:lumMod val="10000"/>
              </a:schemeClr>
            </a:solidFill>
            <a:prstDash val="solid"/>
            <a:round/>
          </a:ln>
        </p:spPr>
        <p:txBody>
          <a:bodyPr lIns="0" tIns="0" rIns="0" bIns="0"/>
          <a:lstStyle/>
          <a:p>
            <a:pPr lvl="0"/>
            <a:endParaRPr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9" y="508000"/>
            <a:ext cx="11063817" cy="406400"/>
          </a:xfrm>
          <a:prstGeom prst="rect">
            <a:avLst/>
          </a:prstGeom>
        </p:spPr>
        <p:txBody>
          <a:bodyPr lIns="45718" tIns="22858" rIns="45718" bIns="22858" anchor="b"/>
          <a:lstStyle>
            <a:lvl1pPr marL="0" marR="0" indent="0" algn="l" defTabSz="292083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400" b="1" spc="71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292083" eaLnBrk="1" fontAlgn="auto" latinLnBrk="0" hangingPunct="1">
              <a:lnSpc>
                <a:spcPct val="100000"/>
              </a:lnSpc>
              <a:spcBef>
                <a:spcPts val="1851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6" tIns="35716" rIns="35716" bIns="35716" numCol="1" spcCol="19049" rtlCol="0" anchor="ctr">
            <a:noAutofit/>
          </a:bodyPr>
          <a:lstStyle/>
          <a:p>
            <a:pPr marL="0" marR="0" indent="0" algn="ctr" defTabSz="292083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358746" y="6524796"/>
            <a:ext cx="1233900" cy="30296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716" tIns="35716" rIns="35716" bIns="35716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5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5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21"/>
            <a:ext cx="681715" cy="226715"/>
          </a:xfrm>
          <a:prstGeom prst="rect">
            <a:avLst/>
          </a:prstGeom>
          <a:noFill/>
        </p:spPr>
        <p:txBody>
          <a:bodyPr vert="horz" lIns="45718" tIns="22858" rIns="45718" bIns="22858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5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5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5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0" y="101600"/>
            <a:ext cx="11063817" cy="406400"/>
          </a:xfrm>
          <a:prstGeom prst="rect">
            <a:avLst/>
          </a:prstGeom>
        </p:spPr>
        <p:txBody>
          <a:bodyPr lIns="45718" tIns="22858" rIns="45718" bIns="22858" anchor="b"/>
          <a:lstStyle>
            <a:lvl1pPr marL="0" marR="0" indent="0" algn="l" defTabSz="292083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1300" b="0" spc="71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292083" eaLnBrk="1" fontAlgn="auto" latinLnBrk="0" hangingPunct="1">
              <a:lnSpc>
                <a:spcPct val="100000"/>
              </a:lnSpc>
              <a:spcBef>
                <a:spcPts val="1851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8146432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83656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424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651058"/>
              </p:ext>
            </p:extLst>
          </p:nvPr>
        </p:nvGraphicFramePr>
        <p:xfrm>
          <a:off x="1599" y="1607"/>
          <a:ext cx="15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9" y="1607"/>
                        <a:ext cx="15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 userDrawn="1"/>
        </p:nvSpPr>
        <p:spPr>
          <a:xfrm>
            <a:off x="2" y="2743200"/>
            <a:ext cx="8460661" cy="1373294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 Narrow" panose="020B0606020202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28" name="Text Placeholder 1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17600" y="2743201"/>
            <a:ext cx="7343063" cy="1361820"/>
          </a:xfrm>
          <a:prstGeom prst="rect">
            <a:avLst/>
          </a:prstGeom>
        </p:spPr>
        <p:txBody>
          <a:bodyPr vert="horz" lIns="45688" tIns="22844" rIns="45688" bIns="22844" anchor="b"/>
          <a:lstStyle>
            <a:lvl1pPr marL="0" indent="0" algn="l">
              <a:spcBef>
                <a:spcPts val="0"/>
              </a:spcBef>
              <a:buNone/>
              <a:defRPr sz="3600" b="1" spc="7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TYPE TITLE OF SECTION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633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20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9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3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15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15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8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7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2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4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29264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4944" y="2100505"/>
            <a:ext cx="10799064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0098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6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5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1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3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970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6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5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1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3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970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6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5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1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3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970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035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035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035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035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035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pPr lvl="0"/>
            <a:endParaRPr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marL="0" marR="0" indent="0" algn="ctr" defTabSz="29189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lvl="0" algn="r">
              <a:defRPr spc="0">
                <a:solidFill>
                  <a:srgbClr val="000000"/>
                </a:solidFill>
              </a:defRPr>
            </a:pPr>
            <a:r>
              <a:rPr sz="1400" b="0" spc="0" dirty="0" smtClean="0">
                <a:solidFill>
                  <a:schemeClr val="bg1"/>
                </a:solidFill>
                <a:latin typeface="+mn-lt"/>
              </a:rPr>
              <a:t>CONFIDENTIAL</a:t>
            </a:r>
            <a:endParaRPr sz="1400" b="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b="0" spc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r>
              <a:rPr lang="en-US" sz="1400" b="0" spc="0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400" b="0" spc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87005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endParaRPr>
              <a:solidFill>
                <a:srgbClr val="626568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algn="ctr" defTabSz="291896" latinLnBrk="1" hangingPunct="0"/>
            <a:endParaRPr lang="en-US" sz="250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r">
              <a:defRPr spc="0">
                <a:solidFill>
                  <a:srgbClr val="000000"/>
                </a:solidFill>
              </a:defRPr>
            </a:pPr>
            <a:r>
              <a:rPr sz="1400" spc="0" dirty="0" smtClean="0">
                <a:solidFill>
                  <a:srgbClr val="FFFFFF"/>
                </a:solidFill>
                <a:latin typeface="Calibri"/>
              </a:rPr>
              <a:t>CONFIDENTIAL</a:t>
            </a:r>
            <a:endParaRPr sz="1400" spc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smtClean="0">
                <a:solidFill>
                  <a:srgbClr val="FFFFFF"/>
                </a:solidFill>
                <a:latin typeface="Calibri"/>
              </a:rPr>
              <a:pPr/>
              <a:t>‹#›</a:t>
            </a:fld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  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191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56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8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2648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endParaRPr>
              <a:solidFill>
                <a:srgbClr val="626568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algn="ctr" defTabSz="291896" latinLnBrk="1" hangingPunct="0"/>
            <a:endParaRPr lang="en-US" sz="250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r">
              <a:defRPr spc="0">
                <a:solidFill>
                  <a:srgbClr val="000000"/>
                </a:solidFill>
              </a:defRPr>
            </a:pPr>
            <a:r>
              <a:rPr sz="1400" spc="0" dirty="0" smtClean="0">
                <a:solidFill>
                  <a:srgbClr val="FFFFFF"/>
                </a:solidFill>
                <a:latin typeface="Calibri"/>
              </a:rPr>
              <a:t>CONFIDENTIAL</a:t>
            </a:r>
            <a:endParaRPr sz="1400" spc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smtClean="0">
                <a:solidFill>
                  <a:srgbClr val="FFFFFF"/>
                </a:solidFill>
                <a:latin typeface="Calibri"/>
              </a:rPr>
              <a:pPr/>
              <a:t>‹#›</a:t>
            </a:fld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  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191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endParaRPr>
              <a:solidFill>
                <a:srgbClr val="626568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algn="ctr" defTabSz="291896" latinLnBrk="1" hangingPunct="0"/>
            <a:endParaRPr lang="en-US" sz="250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r">
              <a:defRPr spc="0">
                <a:solidFill>
                  <a:srgbClr val="000000"/>
                </a:solidFill>
              </a:defRPr>
            </a:pPr>
            <a:r>
              <a:rPr sz="1400" spc="0" dirty="0" smtClean="0">
                <a:solidFill>
                  <a:srgbClr val="FFFFFF"/>
                </a:solidFill>
                <a:latin typeface="Calibri"/>
              </a:rPr>
              <a:t>CONFIDENTIAL</a:t>
            </a:r>
            <a:endParaRPr sz="1400" spc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smtClean="0">
                <a:solidFill>
                  <a:srgbClr val="FFFFFF"/>
                </a:solidFill>
                <a:latin typeface="Calibri"/>
              </a:rPr>
              <a:pPr/>
              <a:t>‹#›</a:t>
            </a:fld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  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191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6"/>
          <p:cNvSpPr/>
          <p:nvPr userDrawn="1"/>
        </p:nvSpPr>
        <p:spPr>
          <a:xfrm>
            <a:off x="609600" y="987329"/>
            <a:ext cx="109728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  <a:round/>
          </a:ln>
        </p:spPr>
        <p:txBody>
          <a:bodyPr lIns="0" tIns="0" rIns="0" bIns="0"/>
          <a:lstStyle/>
          <a:p>
            <a:endParaRPr>
              <a:solidFill>
                <a:srgbClr val="626568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76200"/>
            <a:ext cx="10972800" cy="909320"/>
          </a:xfrm>
          <a:prstGeom prst="rect">
            <a:avLst/>
          </a:prstGeom>
        </p:spPr>
        <p:txBody>
          <a:bodyPr lIns="45688" tIns="22844" rIns="45688" bIns="22844" anchor="b"/>
          <a:lstStyle>
            <a:lvl1pPr marL="0" marR="0" indent="0" algn="l" defTabSz="291896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 sz="2800" b="1" spc="7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291896" eaLnBrk="1" fontAlgn="auto" latinLnBrk="0" hangingPunct="1">
              <a:lnSpc>
                <a:spcPct val="100000"/>
              </a:lnSpc>
              <a:spcBef>
                <a:spcPts val="1849"/>
              </a:spcBef>
              <a:spcAft>
                <a:spcPts val="0"/>
              </a:spcAft>
              <a:buClrTx/>
              <a:buSzPct val="171000"/>
              <a:buFontTx/>
              <a:buNone/>
              <a:tabLst/>
              <a:defRPr/>
            </a:pPr>
            <a:r>
              <a:rPr lang="en-US" dirty="0" smtClean="0"/>
              <a:t>Title of Slid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09600" y="1117600"/>
            <a:ext cx="10972800" cy="5054600"/>
          </a:xfrm>
          <a:prstGeom prst="rect">
            <a:avLst/>
          </a:prstGeom>
        </p:spPr>
        <p:txBody>
          <a:bodyPr lIns="121835" tIns="60917" rIns="121835" bIns="60917"/>
          <a:lstStyle>
            <a:lvl1pPr marL="230556" indent="-230556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1pPr>
            <a:lvl2pPr marL="609173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2pPr>
            <a:lvl3pPr marL="987792" indent="-22844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3pPr>
            <a:lvl4pPr marL="1370640" indent="-232670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4pPr>
            <a:lvl5pPr marL="1747143" indent="-219979" algn="l">
              <a:spcBef>
                <a:spcPts val="799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 sz="1600">
                <a:solidFill>
                  <a:schemeClr val="bg2">
                    <a:lumMod val="1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0" y="6493514"/>
            <a:ext cx="12192000" cy="372127"/>
          </a:xfrm>
          <a:prstGeom prst="rect">
            <a:avLst/>
          </a:prstGeom>
          <a:solidFill>
            <a:schemeClr val="accent1"/>
          </a:solidFill>
          <a:ln w="254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694" tIns="35694" rIns="35694" bIns="35694" numCol="1" spcCol="19037" rtlCol="0" anchor="ctr">
            <a:noAutofit/>
          </a:bodyPr>
          <a:lstStyle/>
          <a:p>
            <a:pPr algn="ctr" defTabSz="291896" latinLnBrk="1" hangingPunct="0"/>
            <a:endParaRPr lang="en-US" sz="250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0414607" y="6532523"/>
            <a:ext cx="1178038" cy="28752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694" tIns="35694" rIns="35694" bIns="35694" anchor="ctr">
            <a:spAutoFit/>
          </a:bodyPr>
          <a:lstStyle>
            <a:lvl1pPr>
              <a:defRPr sz="1800" spc="647">
                <a:solidFill>
                  <a:srgbClr val="0F26A5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r">
              <a:defRPr spc="0">
                <a:solidFill>
                  <a:srgbClr val="000000"/>
                </a:solidFill>
              </a:defRPr>
            </a:pPr>
            <a:r>
              <a:rPr sz="1400" spc="0" dirty="0" smtClean="0">
                <a:solidFill>
                  <a:srgbClr val="FFFFFF"/>
                </a:solidFill>
                <a:latin typeface="Calibri"/>
              </a:rPr>
              <a:t>CONFIDENTIAL</a:t>
            </a:r>
            <a:endParaRPr sz="1400" spc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5755150" y="6562103"/>
            <a:ext cx="681715" cy="226714"/>
          </a:xfrm>
          <a:prstGeom prst="rect">
            <a:avLst/>
          </a:prstGeom>
          <a:noFill/>
        </p:spPr>
        <p:txBody>
          <a:bodyPr vert="horz" lIns="45688" tIns="22844" rIns="45688" bIns="2284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b="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75D5F4-7D47-824B-A62F-8EF9E2D3386C}" type="slidenum">
              <a:rPr lang="en-US" sz="1400" smtClean="0">
                <a:solidFill>
                  <a:srgbClr val="FFFFFF"/>
                </a:solidFill>
                <a:latin typeface="Calibri"/>
              </a:rPr>
              <a:pPr/>
              <a:t>‹#›</a:t>
            </a:fld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  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18" descr="C:\Users\salvael.o\AppData\Local\Microsoft\Windows\Temporary Internet Files\Content.Outlook\YGNC19QW\SSIC logo vert wht (3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12" y="6538979"/>
            <a:ext cx="1134359" cy="28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191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759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693737" y="290911"/>
            <a:ext cx="10795000" cy="330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6284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7674426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 userDrawn="1"/>
        </p:nvSpPr>
        <p:spPr>
          <a:xfrm>
            <a:off x="5374865" y="202052"/>
            <a:ext cx="7709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H2 2017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9191035" y="202052"/>
            <a:ext cx="767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H1</a:t>
            </a:r>
            <a:r>
              <a:rPr lang="en-US" sz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 2018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Graphik Medium"/>
              <a:cs typeface="Graphik Medium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351482" y="202052"/>
            <a:ext cx="2122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CURRENT</a:t>
            </a:r>
            <a:r>
              <a:rPr lang="en-US" sz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 PRODUCT LINE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Graphik Medium"/>
              <a:cs typeface="Graphik Medium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85520" y="595141"/>
            <a:ext cx="277000" cy="3337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681286" y="3933098"/>
            <a:ext cx="1486793" cy="26918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 userDrawn="1"/>
        </p:nvSpPr>
        <p:spPr>
          <a:xfrm rot="16200000">
            <a:off x="316936" y="2006902"/>
            <a:ext cx="10438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GATEWAYS</a:t>
            </a:r>
          </a:p>
        </p:txBody>
      </p:sp>
      <p:sp>
        <p:nvSpPr>
          <p:cNvPr id="32" name="TextBox 31"/>
          <p:cNvSpPr txBox="1"/>
          <p:nvPr userDrawn="1"/>
        </p:nvSpPr>
        <p:spPr>
          <a:xfrm rot="16200000">
            <a:off x="229239" y="5162570"/>
            <a:ext cx="1210788" cy="2772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EDGE NODES</a:t>
            </a:r>
          </a:p>
        </p:txBody>
      </p:sp>
    </p:spTree>
    <p:extLst>
      <p:ext uri="{BB962C8B-B14F-4D97-AF65-F5344CB8AC3E}">
        <p14:creationId xmlns:p14="http://schemas.microsoft.com/office/powerpoint/2010/main" val="4160069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693737" y="290911"/>
            <a:ext cx="10795000" cy="330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6284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7674426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 userDrawn="1"/>
        </p:nvSpPr>
        <p:spPr>
          <a:xfrm>
            <a:off x="5365180" y="202052"/>
            <a:ext cx="7903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Q4 2017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961843" y="202052"/>
            <a:ext cx="12256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Planned </a:t>
            </a:r>
            <a:r>
              <a:rPr lang="en-US" sz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2018+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Graphik Medium"/>
              <a:cs typeface="Graphik Medium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351482" y="202052"/>
            <a:ext cx="2122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CURRENT</a:t>
            </a:r>
            <a:r>
              <a:rPr lang="en-US" sz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raphik Medium"/>
                <a:cs typeface="Graphik Medium"/>
              </a:rPr>
              <a:t> PRODUCT LINE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Graphik Medium"/>
              <a:cs typeface="Graphik Medium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85520" y="595141"/>
            <a:ext cx="277000" cy="3337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681286" y="3933098"/>
            <a:ext cx="1486793" cy="26918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105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693746" y="632393"/>
            <a:ext cx="10808831" cy="148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693737" y="2139579"/>
            <a:ext cx="10795000" cy="148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693737" y="290911"/>
            <a:ext cx="10795000" cy="330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62626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2975764" y="318126"/>
            <a:ext cx="1788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CURRENT</a:t>
            </a:r>
            <a:r>
              <a:rPr lang="en-US" sz="1200" baseline="0" dirty="0" smtClean="0">
                <a:solidFill>
                  <a:srgbClr val="262626"/>
                </a:solidFill>
                <a:latin typeface="Graphik Medium"/>
                <a:cs typeface="Graphik Medium"/>
              </a:rPr>
              <a:t> FEATURES</a:t>
            </a:r>
            <a:endParaRPr lang="en-US" sz="1200" dirty="0" smtClean="0">
              <a:solidFill>
                <a:srgbClr val="262626"/>
              </a:solidFill>
              <a:latin typeface="Graphik Medium"/>
              <a:cs typeface="Graphik Medium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5655456" y="318126"/>
            <a:ext cx="7903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Q3 2017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7836236" y="318126"/>
            <a:ext cx="7903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Q4 2017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9951370" y="6445265"/>
            <a:ext cx="1454604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Graphik Light" charset="0"/>
                <a:ea typeface="Graphik Semibold" charset="0"/>
                <a:cs typeface="Graphik Semibold" charset="0"/>
              </a:rPr>
              <a:t>Confidential</a:t>
            </a:r>
            <a:endParaRPr lang="en-US" sz="900" b="1" dirty="0">
              <a:solidFill>
                <a:schemeClr val="bg1">
                  <a:lumMod val="50000"/>
                </a:schemeClr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93737" y="5153951"/>
            <a:ext cx="10795000" cy="148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693737" y="3646765"/>
            <a:ext cx="10795000" cy="148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2779484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7141026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9321797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960255" y="290911"/>
            <a:ext cx="0" cy="6334014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9741761" y="318126"/>
            <a:ext cx="13131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Planned 2018 +</a:t>
            </a:r>
          </a:p>
        </p:txBody>
      </p:sp>
    </p:spTree>
    <p:extLst>
      <p:ext uri="{BB962C8B-B14F-4D97-AF65-F5344CB8AC3E}">
        <p14:creationId xmlns:p14="http://schemas.microsoft.com/office/powerpoint/2010/main" val="3812324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692026" y="6067488"/>
            <a:ext cx="10795000" cy="67873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691833" y="5376301"/>
            <a:ext cx="10795000" cy="67873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690880" y="4906384"/>
            <a:ext cx="10795000" cy="457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693746" y="632393"/>
            <a:ext cx="10808831" cy="37941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1502568" y="621111"/>
            <a:ext cx="0" cy="534341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 userDrawn="1"/>
        </p:nvSpPr>
        <p:spPr>
          <a:xfrm>
            <a:off x="693737" y="290911"/>
            <a:ext cx="10795000" cy="330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 userDrawn="1"/>
        </p:nvSpPr>
        <p:spPr>
          <a:xfrm>
            <a:off x="4874224" y="318126"/>
            <a:ext cx="1788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CURRENT</a:t>
            </a:r>
            <a:r>
              <a:rPr lang="en-US" sz="1200" baseline="0" dirty="0" smtClean="0">
                <a:solidFill>
                  <a:srgbClr val="262626"/>
                </a:solidFill>
                <a:latin typeface="Graphik Medium"/>
                <a:cs typeface="Graphik Medium"/>
              </a:rPr>
              <a:t> FEATURES</a:t>
            </a:r>
            <a:endParaRPr lang="en-US" sz="1200" dirty="0" smtClean="0">
              <a:solidFill>
                <a:srgbClr val="262626"/>
              </a:solidFill>
              <a:latin typeface="Graphik Medium"/>
              <a:cs typeface="Graphik Medium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9288699" y="318126"/>
            <a:ext cx="630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62626"/>
                </a:solidFill>
                <a:latin typeface="Graphik Medium"/>
                <a:cs typeface="Graphik Medium"/>
              </a:rPr>
              <a:t>Future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693737" y="4439024"/>
            <a:ext cx="10795000" cy="4572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3846284" y="290911"/>
            <a:ext cx="0" cy="3602236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7686038" y="208022"/>
            <a:ext cx="0" cy="3685129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186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theme" Target="../theme/theme1.xml"/><Relationship Id="rId4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521208"/>
            <a:ext cx="10799064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4" y="1600200"/>
            <a:ext cx="10799064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985375" y="6381768"/>
            <a:ext cx="1511300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fld id="{8F52B91D-2844-D145-9271-02A599FD82B6}" type="slidenum">
              <a:rPr lang="en-US" sz="900" b="1" smtClean="0">
                <a:solidFill>
                  <a:srgbClr val="BFBFBF"/>
                </a:solidFill>
                <a:latin typeface="Graphik Light" charset="0"/>
                <a:ea typeface="Graphik Semibold" charset="0"/>
                <a:cs typeface="Graphik Semibold" charset="0"/>
              </a:rPr>
              <a:t>‹#›</a:t>
            </a:fld>
            <a:r>
              <a:rPr lang="en-US" sz="900" b="1" dirty="0" smtClean="0">
                <a:solidFill>
                  <a:srgbClr val="BFBFBF"/>
                </a:solidFill>
                <a:latin typeface="Graphik Light" charset="0"/>
                <a:ea typeface="Graphik Semibold" charset="0"/>
                <a:cs typeface="Graphik Semibold" charset="0"/>
              </a:rPr>
              <a:t> </a:t>
            </a:r>
            <a:endParaRPr lang="en-US" sz="900" b="1" dirty="0">
              <a:solidFill>
                <a:srgbClr val="BFBFBF"/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  <p:pic>
        <p:nvPicPr>
          <p:cNvPr id="9" name="Picture 8" descr="_artik_horizontal_print.png"/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14" y="6091467"/>
            <a:ext cx="1355246" cy="4826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10042071" y="6517833"/>
            <a:ext cx="1454604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Graphik Light" charset="0"/>
                <a:ea typeface="Graphik Semibold" charset="0"/>
                <a:cs typeface="Graphik Semibold" charset="0"/>
              </a:rPr>
              <a:t>Confidential</a:t>
            </a:r>
            <a:endParaRPr lang="en-US" sz="900" b="1" dirty="0">
              <a:solidFill>
                <a:schemeClr val="bg1">
                  <a:lumMod val="50000"/>
                </a:schemeClr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4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1" r:id="rId4"/>
    <p:sldLayoutId id="2147483654" r:id="rId5"/>
    <p:sldLayoutId id="2147483672" r:id="rId6"/>
    <p:sldLayoutId id="2147483675" r:id="rId7"/>
    <p:sldLayoutId id="2147483673" r:id="rId8"/>
    <p:sldLayoutId id="2147483674" r:id="rId9"/>
    <p:sldLayoutId id="2147483655" r:id="rId10"/>
    <p:sldLayoutId id="2147483657" r:id="rId11"/>
    <p:sldLayoutId id="2147483658" r:id="rId12"/>
    <p:sldLayoutId id="2147483660" r:id="rId13"/>
    <p:sldLayoutId id="2147483668" r:id="rId14"/>
    <p:sldLayoutId id="2147483669" r:id="rId15"/>
    <p:sldLayoutId id="2147483670" r:id="rId16"/>
    <p:sldLayoutId id="2147483671" r:id="rId17"/>
    <p:sldLayoutId id="2147483676" r:id="rId18"/>
    <p:sldLayoutId id="2147483677" r:id="rId19"/>
    <p:sldLayoutId id="2147483678" r:id="rId20"/>
    <p:sldLayoutId id="2147483679" r:id="rId21"/>
    <p:sldLayoutId id="2147483681" r:id="rId22"/>
    <p:sldLayoutId id="2147483682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6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rgbClr val="404040"/>
          </a:solidFill>
          <a:latin typeface="Graphik light"/>
          <a:ea typeface="+mj-ea"/>
          <a:cs typeface="Graphik light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Font typeface="Arial"/>
        <a:buChar char="•"/>
        <a:defRPr sz="2200" kern="1200">
          <a:solidFill>
            <a:srgbClr val="404040"/>
          </a:solidFill>
          <a:latin typeface="Graphik light"/>
          <a:ea typeface="+mn-ea"/>
          <a:cs typeface="Graphik light"/>
        </a:defRPr>
      </a:lvl1pPr>
      <a:lvl2pPr marL="54864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Font typeface="Arial"/>
        <a:buChar char="•"/>
        <a:defRPr sz="2000" kern="1200">
          <a:solidFill>
            <a:srgbClr val="404040"/>
          </a:solidFill>
          <a:latin typeface="Graphik light"/>
          <a:ea typeface="+mn-ea"/>
          <a:cs typeface="Graphik light"/>
        </a:defRPr>
      </a:lvl2pPr>
      <a:lvl3pPr marL="914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Font typeface="Arial"/>
        <a:buChar char="•"/>
        <a:defRPr sz="2000" kern="1200">
          <a:solidFill>
            <a:srgbClr val="404040"/>
          </a:solidFill>
          <a:latin typeface="Graphik light"/>
          <a:ea typeface="+mn-ea"/>
          <a:cs typeface="Graphik light"/>
        </a:defRPr>
      </a:lvl3pPr>
      <a:lvl4pPr marL="128016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Font typeface="Arial"/>
        <a:buChar char="•"/>
        <a:defRPr sz="1800" kern="1200">
          <a:solidFill>
            <a:srgbClr val="404040"/>
          </a:solidFill>
          <a:latin typeface="Graphik light"/>
          <a:ea typeface="+mn-ea"/>
          <a:cs typeface="Graphik light"/>
        </a:defRPr>
      </a:lvl4pPr>
      <a:lvl5pPr marL="164592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Font typeface="Arial"/>
        <a:buChar char="•"/>
        <a:defRPr sz="1800" kern="1200">
          <a:solidFill>
            <a:srgbClr val="404040"/>
          </a:solidFill>
          <a:latin typeface="Graphik light"/>
          <a:ea typeface="+mn-ea"/>
          <a:cs typeface="Graphik light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mqtt/mqtt.github.io/wiki/libraries" TargetMode="External"/><Relationship Id="rId3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7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1111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53"/>
          <a:stretch/>
        </p:blipFill>
        <p:spPr>
          <a:xfrm>
            <a:off x="9256843" y="4"/>
            <a:ext cx="2935167" cy="685799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615765" y="2682715"/>
            <a:ext cx="5912810" cy="1324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4000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ARTIK 05x</a:t>
            </a:r>
            <a:endParaRPr lang="en-US" sz="4000" dirty="0" smtClean="0">
              <a:solidFill>
                <a:prstClr val="white"/>
              </a:solidFill>
              <a:latin typeface="Graphik Light" charset="0"/>
              <a:ea typeface="Graphik Semibold" charset="0"/>
              <a:cs typeface="Graphik Semibold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042071" y="6381770"/>
            <a:ext cx="1454604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r>
              <a:rPr lang="en-US" sz="900" b="1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Confidential</a:t>
            </a:r>
            <a:endParaRPr lang="en-US" sz="900" b="1" dirty="0">
              <a:solidFill>
                <a:prstClr val="white"/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582958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87163" y="1935647"/>
            <a:ext cx="5419725" cy="4351337"/>
          </a:xfr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683184" y="1982925"/>
            <a:ext cx="533784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Font typeface="Arial"/>
              <a:buChar char="•"/>
              <a:defRPr sz="22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1pPr>
            <a:lvl2pPr marL="54864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2pPr>
            <a:lvl3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3pPr>
            <a:lvl4pPr marL="128016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4pPr>
            <a:lvl5pPr marL="164592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Char char="§"/>
            </a:pPr>
            <a:r>
              <a:rPr lang="en-US" dirty="0" smtClean="0"/>
              <a:t>ARTIK 05x Module</a:t>
            </a:r>
          </a:p>
          <a:p>
            <a:pPr>
              <a:buFont typeface="Wingdings" charset="2"/>
              <a:buChar char="§"/>
            </a:pPr>
            <a:r>
              <a:rPr lang="en-US" dirty="0" smtClean="0"/>
              <a:t>Wi-Fi 2.4GHz, BLE 5.0 including 802.15.4 Radio and Thread SW stack</a:t>
            </a:r>
          </a:p>
          <a:p>
            <a:pPr>
              <a:buFont typeface="Wingdings" charset="2"/>
              <a:buChar char="§"/>
            </a:pPr>
            <a:r>
              <a:rPr lang="en-US" dirty="0" smtClean="0"/>
              <a:t>Analog I/O, GPIO, I2C etc.</a:t>
            </a:r>
          </a:p>
          <a:p>
            <a:pPr>
              <a:buFont typeface="Wingdings" charset="2"/>
              <a:buChar char="§"/>
            </a:pPr>
            <a:r>
              <a:rPr lang="en-US" dirty="0" smtClean="0"/>
              <a:t>Isolated RS485 serial port</a:t>
            </a:r>
          </a:p>
          <a:p>
            <a:pPr>
              <a:buFont typeface="Wingdings" charset="2"/>
              <a:buChar char="§"/>
            </a:pPr>
            <a:r>
              <a:rPr lang="en-US" dirty="0" smtClean="0"/>
              <a:t>Supports ARTIK Cloud, PTC </a:t>
            </a:r>
            <a:r>
              <a:rPr lang="en-US" dirty="0" err="1" smtClean="0"/>
              <a:t>ThingWorx</a:t>
            </a:r>
            <a:r>
              <a:rPr lang="en-US" dirty="0" smtClean="0"/>
              <a:t>, AWS </a:t>
            </a:r>
            <a:r>
              <a:rPr lang="en-US" dirty="0" err="1" smtClean="0"/>
              <a:t>IoT</a:t>
            </a:r>
            <a:endParaRPr lang="en-US" dirty="0" smtClean="0"/>
          </a:p>
          <a:p>
            <a:pPr>
              <a:buFont typeface="Wingdings" charset="2"/>
              <a:buChar char="§"/>
            </a:pP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94944" y="521208"/>
            <a:ext cx="10799064" cy="914400"/>
          </a:xfrm>
        </p:spPr>
        <p:txBody>
          <a:bodyPr/>
          <a:lstStyle/>
          <a:p>
            <a:r>
              <a:rPr lang="en-US" dirty="0" smtClean="0">
                <a:latin typeface="Graphik Light"/>
                <a:cs typeface="Graphik Light"/>
              </a:rPr>
              <a:t>Shoreline iCast2 Modbus Solution</a:t>
            </a:r>
            <a: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  <a:t/>
            </a:r>
            <a:b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</a:br>
            <a:r>
              <a:rPr lang="en-US" dirty="0">
                <a:solidFill>
                  <a:srgbClr val="ED7D31"/>
                </a:solidFill>
              </a:rPr>
              <a:t>ARTIK </a:t>
            </a:r>
            <a:r>
              <a:rPr lang="en-US" dirty="0" smtClean="0">
                <a:solidFill>
                  <a:srgbClr val="ED7D31"/>
                </a:solidFill>
              </a:rPr>
              <a:t>05x</a:t>
            </a:r>
            <a:endParaRPr lang="en-US" sz="2800" dirty="0">
              <a:solidFill>
                <a:srgbClr val="ED7D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2679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raphik Light"/>
                <a:cs typeface="Graphik Light"/>
              </a:rPr>
              <a:t>Voice-enabled switch</a:t>
            </a:r>
            <a: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  <a:t/>
            </a:r>
            <a:b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</a:br>
            <a:r>
              <a:rPr lang="en-US" dirty="0">
                <a:solidFill>
                  <a:srgbClr val="ED7D31"/>
                </a:solidFill>
              </a:rPr>
              <a:t>ARTIK 05x, ARTIK 530 </a:t>
            </a:r>
            <a:r>
              <a:rPr lang="en-US" dirty="0" err="1">
                <a:solidFill>
                  <a:srgbClr val="ED7D31"/>
                </a:solidFill>
              </a:rPr>
              <a:t>SoMs</a:t>
            </a:r>
            <a:r>
              <a:rPr lang="en-US" dirty="0">
                <a:solidFill>
                  <a:srgbClr val="ED7D31"/>
                </a:solidFill>
              </a:rPr>
              <a:t> and AVS Gateway</a:t>
            </a:r>
            <a:endParaRPr lang="en-US" sz="2800" dirty="0">
              <a:solidFill>
                <a:srgbClr val="ED7D31"/>
              </a:solidFill>
            </a:endParaRPr>
          </a:p>
        </p:txBody>
      </p:sp>
      <p:cxnSp>
        <p:nvCxnSpPr>
          <p:cNvPr id="14" name="Straight Arrow Connector 77"/>
          <p:cNvCxnSpPr/>
          <p:nvPr/>
        </p:nvCxnSpPr>
        <p:spPr>
          <a:xfrm flipV="1">
            <a:off x="9912980" y="2122123"/>
            <a:ext cx="2074789" cy="1778000"/>
          </a:xfrm>
          <a:prstGeom prst="straightConnector1">
            <a:avLst/>
          </a:prstGeom>
          <a:ln w="19050" cap="sq" cmpd="sng">
            <a:solidFill>
              <a:srgbClr val="FFFFFF"/>
            </a:solidFill>
            <a:headEnd type="triangle" w="lg" len="lg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882962" y="528588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xmlns="" id="{F14E0BA8-427B-0549-9934-83A58E9C5C37}"/>
              </a:ext>
            </a:extLst>
          </p:cNvPr>
          <p:cNvSpPr txBox="1">
            <a:spLocks/>
          </p:cNvSpPr>
          <p:nvPr/>
        </p:nvSpPr>
        <p:spPr>
          <a:xfrm>
            <a:off x="694944" y="2100505"/>
            <a:ext cx="6821983" cy="3629296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Font typeface="Arial"/>
              <a:buChar char="•"/>
              <a:defRPr sz="22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1pPr>
            <a:lvl2pPr marL="54864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2pPr>
            <a:lvl3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3pPr>
            <a:lvl4pPr marL="128016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4pPr>
            <a:lvl5pPr marL="164592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Graphik Light" panose="020B0403030202060203" pitchFamily="34" charset="77"/>
              </a:rPr>
              <a:t>Smart switch based on ARTIK 05x and ARTIK 530 for AVS connectivity. Voice detection done on </a:t>
            </a:r>
            <a:r>
              <a:rPr lang="en-US" sz="2400" dirty="0" err="1">
                <a:latin typeface="Graphik Light" panose="020B0403030202060203" pitchFamily="34" charset="77"/>
              </a:rPr>
              <a:t>Synaptics</a:t>
            </a:r>
            <a:r>
              <a:rPr lang="en-US" sz="2400" dirty="0">
                <a:latin typeface="Graphik Light" panose="020B0403030202060203" pitchFamily="34" charset="77"/>
              </a:rPr>
              <a:t> DSP.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Use cas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Smart Home, Smart Building, Smart Hotel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Hardwar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ARTIK05x, ARTIK 530, DSP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Softwar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Alexa Voice Service on 530, 05x sensor logic, control logic on 05x, ARTIK Cloud connectivity via 05x</a:t>
            </a:r>
          </a:p>
          <a:p>
            <a:pPr marL="0" indent="0">
              <a:buFont typeface="Arial"/>
              <a:buNone/>
            </a:pPr>
            <a:endParaRPr lang="en-US" sz="2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0F47367-1781-8F41-85CE-7B7A86F31C8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5" b="5795"/>
          <a:stretch/>
        </p:blipFill>
        <p:spPr>
          <a:xfrm>
            <a:off x="7952377" y="2122123"/>
            <a:ext cx="3494069" cy="4118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7378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raphik Light"/>
                <a:cs typeface="Graphik Light"/>
              </a:rPr>
              <a:t>Smart appliances and edge analytics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rgbClr val="ED7D31"/>
                </a:solidFill>
              </a:rPr>
              <a:t>ARTIK 055s </a:t>
            </a:r>
            <a:r>
              <a:rPr lang="en-US" dirty="0" err="1">
                <a:solidFill>
                  <a:srgbClr val="ED7D31"/>
                </a:solidFill>
              </a:rPr>
              <a:t>SoM</a:t>
            </a:r>
            <a:r>
              <a:rPr lang="en-US" dirty="0">
                <a:solidFill>
                  <a:srgbClr val="ED7D31"/>
                </a:solidFill>
              </a:rPr>
              <a:t> and Axon Predict Edge Analytics</a:t>
            </a:r>
            <a:endParaRPr lang="en-US" sz="2800" dirty="0">
              <a:solidFill>
                <a:srgbClr val="ED7D31"/>
              </a:solidFill>
            </a:endParaRPr>
          </a:p>
        </p:txBody>
      </p:sp>
      <p:cxnSp>
        <p:nvCxnSpPr>
          <p:cNvPr id="14" name="Straight Arrow Connector 77"/>
          <p:cNvCxnSpPr/>
          <p:nvPr/>
        </p:nvCxnSpPr>
        <p:spPr>
          <a:xfrm flipV="1">
            <a:off x="9912980" y="2122123"/>
            <a:ext cx="2074789" cy="1778000"/>
          </a:xfrm>
          <a:prstGeom prst="straightConnector1">
            <a:avLst/>
          </a:prstGeom>
          <a:ln w="19050" cap="sq" cmpd="sng">
            <a:solidFill>
              <a:srgbClr val="FFFFFF"/>
            </a:solidFill>
            <a:headEnd type="triangle" w="lg" len="lg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882962" y="528588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BAD794D-2DA3-0E4A-99F8-273AC68DB4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0708" y="2124845"/>
            <a:ext cx="3543300" cy="4051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571084F-8C8B-5143-A40E-556D10D19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53406" y="5575804"/>
            <a:ext cx="881204" cy="1100364"/>
          </a:xfrm>
          <a:prstGeom prst="rect">
            <a:avLst/>
          </a:prstGeom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xmlns="" id="{7C546281-CC46-6D44-8D7D-11C364BDAF25}"/>
              </a:ext>
            </a:extLst>
          </p:cNvPr>
          <p:cNvSpPr txBox="1">
            <a:spLocks/>
          </p:cNvSpPr>
          <p:nvPr/>
        </p:nvSpPr>
        <p:spPr>
          <a:xfrm>
            <a:off x="694944" y="2100505"/>
            <a:ext cx="6896550" cy="3629296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Font typeface="Arial"/>
              <a:buChar char="•"/>
              <a:defRPr sz="22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1pPr>
            <a:lvl2pPr marL="54864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2pPr>
            <a:lvl3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3pPr>
            <a:lvl4pPr marL="128016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4pPr>
            <a:lvl5pPr marL="164592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latin typeface="Graphik Light" panose="020B0403030202060203" pitchFamily="34" charset="77"/>
              </a:rPr>
              <a:t>ARTIK 055s-powered smart washer with edge analytics for detergent level check, predictive maintenance, etc. Washer can be controlled by a mobile </a:t>
            </a:r>
            <a:r>
              <a:rPr lang="en-US" sz="2400" dirty="0" smtClean="0">
                <a:latin typeface="Graphik Light" panose="020B0403030202060203" pitchFamily="34" charset="77"/>
              </a:rPr>
              <a:t>app or voice. </a:t>
            </a:r>
            <a:r>
              <a:rPr lang="en-US" sz="2400" dirty="0">
                <a:latin typeface="Graphik Light" panose="020B0403030202060203" pitchFamily="34" charset="77"/>
              </a:rPr>
              <a:t>Alerts show on </a:t>
            </a:r>
            <a:r>
              <a:rPr lang="en-US" sz="2400" dirty="0" err="1">
                <a:latin typeface="Graphik Light" panose="020B0403030202060203" pitchFamily="34" charset="77"/>
              </a:rPr>
              <a:t>LaMetrics</a:t>
            </a:r>
            <a:r>
              <a:rPr lang="en-US" sz="2400" dirty="0">
                <a:latin typeface="Graphik Light" panose="020B0403030202060203" pitchFamily="34" charset="77"/>
              </a:rPr>
              <a:t> display. 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Use cas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Smart home appliances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Hardwar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ARTIK 055s </a:t>
            </a:r>
            <a:r>
              <a:rPr lang="en-US" sz="1800" dirty="0" err="1">
                <a:latin typeface="Graphik Light" panose="020B0403030202060203" pitchFamily="34" charset="77"/>
              </a:rPr>
              <a:t>WiFi</a:t>
            </a:r>
            <a:r>
              <a:rPr lang="en-US" sz="1800" dirty="0">
                <a:latin typeface="Graphik Light" panose="020B0403030202060203" pitchFamily="34" charset="77"/>
              </a:rPr>
              <a:t> module, washer with weight sensor, water level sensor etc., mobile device, </a:t>
            </a:r>
            <a:r>
              <a:rPr lang="en-US" sz="1800" dirty="0" err="1">
                <a:latin typeface="Graphik Light" panose="020B0403030202060203" pitchFamily="34" charset="77"/>
              </a:rPr>
              <a:t>LaMetrics</a:t>
            </a:r>
            <a:r>
              <a:rPr lang="en-US" sz="1800" dirty="0">
                <a:latin typeface="Graphik Light" panose="020B0403030202060203" pitchFamily="34" charset="77"/>
              </a:rPr>
              <a:t> display (optional)</a:t>
            </a: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Softwar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SmartThings Cloud cloud connector, rules engine; Android mobile app; AXON Predict Analytic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19877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Graphik Light"/>
                <a:cs typeface="Graphik Light"/>
              </a:rPr>
              <a:t>Location based service</a:t>
            </a:r>
            <a: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  <a:t/>
            </a:r>
            <a:br>
              <a:rPr lang="en-US" dirty="0">
                <a:solidFill>
                  <a:schemeClr val="tx1"/>
                </a:solidFill>
                <a:latin typeface="Graphik Light"/>
                <a:cs typeface="Graphik Light"/>
              </a:rPr>
            </a:br>
            <a:r>
              <a:rPr lang="en-US" dirty="0">
                <a:solidFill>
                  <a:srgbClr val="ED7D31"/>
                </a:solidFill>
              </a:rPr>
              <a:t>ARTIK </a:t>
            </a:r>
            <a:r>
              <a:rPr lang="en-US" dirty="0" smtClean="0">
                <a:solidFill>
                  <a:srgbClr val="ED7D31"/>
                </a:solidFill>
              </a:rPr>
              <a:t>05x</a:t>
            </a:r>
            <a:endParaRPr lang="en-US" sz="2800" dirty="0">
              <a:solidFill>
                <a:srgbClr val="ED7D31"/>
              </a:solidFill>
            </a:endParaRPr>
          </a:p>
        </p:txBody>
      </p:sp>
      <p:cxnSp>
        <p:nvCxnSpPr>
          <p:cNvPr id="14" name="Straight Arrow Connector 77"/>
          <p:cNvCxnSpPr/>
          <p:nvPr/>
        </p:nvCxnSpPr>
        <p:spPr>
          <a:xfrm flipV="1">
            <a:off x="9912980" y="2122123"/>
            <a:ext cx="2074789" cy="1778000"/>
          </a:xfrm>
          <a:prstGeom prst="straightConnector1">
            <a:avLst/>
          </a:prstGeom>
          <a:ln w="19050" cap="sq" cmpd="sng">
            <a:solidFill>
              <a:srgbClr val="FFFFFF"/>
            </a:solidFill>
            <a:headEnd type="triangle" w="lg" len="lg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882962" y="528588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xmlns="" id="{F14E0BA8-427B-0549-9934-83A58E9C5C37}"/>
              </a:ext>
            </a:extLst>
          </p:cNvPr>
          <p:cNvSpPr txBox="1">
            <a:spLocks/>
          </p:cNvSpPr>
          <p:nvPr/>
        </p:nvSpPr>
        <p:spPr>
          <a:xfrm>
            <a:off x="694944" y="2100505"/>
            <a:ext cx="6821983" cy="3629296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Font typeface="Arial"/>
              <a:buChar char="•"/>
              <a:defRPr sz="22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1pPr>
            <a:lvl2pPr marL="54864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2pPr>
            <a:lvl3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20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3pPr>
            <a:lvl4pPr marL="128016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4pPr>
            <a:lvl5pPr marL="164592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Font typeface="Arial"/>
              <a:buChar char="•"/>
              <a:defRPr sz="1800" kern="1200">
                <a:solidFill>
                  <a:srgbClr val="404040"/>
                </a:solidFill>
                <a:latin typeface="Graphik light"/>
                <a:ea typeface="+mn-ea"/>
                <a:cs typeface="Graphik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>
                <a:latin typeface="Graphik Light" panose="020B0403030202060203" pitchFamily="34" charset="77"/>
              </a:rPr>
              <a:t>Leverage 05x </a:t>
            </a:r>
            <a:r>
              <a:rPr lang="en-US" sz="2400" dirty="0" err="1" smtClean="0">
                <a:latin typeface="Graphik Light" panose="020B0403030202060203" pitchFamily="34" charset="77"/>
              </a:rPr>
              <a:t>WiFi</a:t>
            </a:r>
            <a:r>
              <a:rPr lang="en-US" sz="2400" dirty="0" smtClean="0">
                <a:latin typeface="Graphik Light" panose="020B0403030202060203" pitchFamily="34" charset="77"/>
              </a:rPr>
              <a:t> connectivity for location based service. </a:t>
            </a:r>
            <a:endParaRPr lang="en-US" sz="2400" dirty="0">
              <a:latin typeface="Graphik Light" panose="020B0403030202060203" pitchFamily="34" charset="77"/>
            </a:endParaRP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Use cas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</a:t>
            </a:r>
            <a:r>
              <a:rPr lang="en-US" sz="1800" dirty="0" smtClean="0">
                <a:latin typeface="Graphik Light" panose="020B0403030202060203" pitchFamily="34" charset="77"/>
              </a:rPr>
              <a:t>Smart </a:t>
            </a:r>
            <a:r>
              <a:rPr lang="en-US" sz="1800" dirty="0">
                <a:latin typeface="Graphik Light" panose="020B0403030202060203" pitchFamily="34" charset="77"/>
              </a:rPr>
              <a:t>Building, Smart </a:t>
            </a:r>
            <a:r>
              <a:rPr lang="en-US" sz="1800" dirty="0" smtClean="0">
                <a:latin typeface="Graphik Light" panose="020B0403030202060203" pitchFamily="34" charset="77"/>
              </a:rPr>
              <a:t>Campus</a:t>
            </a:r>
            <a:endParaRPr lang="en-US" sz="1800" dirty="0">
              <a:latin typeface="Graphik Light" panose="020B0403030202060203" pitchFamily="34" charset="77"/>
            </a:endParaRPr>
          </a:p>
          <a:p>
            <a:pPr marL="0" indent="0">
              <a:buNone/>
            </a:pPr>
            <a:r>
              <a:rPr lang="en-US" sz="1800" dirty="0">
                <a:latin typeface="Graphik" panose="020B0503030202060203" pitchFamily="34" charset="77"/>
                <a:cs typeface="Graphik Semibold"/>
              </a:rPr>
              <a:t>Hardware</a:t>
            </a:r>
            <a:r>
              <a:rPr lang="en-US" sz="1800" dirty="0">
                <a:latin typeface="Graphik" panose="020B0503030202060203" pitchFamily="34" charset="77"/>
              </a:rPr>
              <a:t>:</a:t>
            </a:r>
            <a:r>
              <a:rPr lang="en-US" sz="1800" dirty="0">
                <a:latin typeface="Graphik Light" panose="020B0403030202060203" pitchFamily="34" charset="77"/>
              </a:rPr>
              <a:t> </a:t>
            </a:r>
            <a:r>
              <a:rPr lang="en-US" sz="1800" dirty="0" smtClean="0">
                <a:latin typeface="Graphik Light" panose="020B0403030202060203" pitchFamily="34" charset="77"/>
              </a:rPr>
              <a:t>ARTIK05x</a:t>
            </a:r>
          </a:p>
          <a:p>
            <a:pPr marL="0" indent="0">
              <a:buNone/>
            </a:pPr>
            <a:r>
              <a:rPr lang="en-US" sz="1800" dirty="0" smtClean="0">
                <a:latin typeface="Graphik" panose="020B0503030202060203" pitchFamily="34" charset="77"/>
                <a:cs typeface="Graphik Semibold"/>
              </a:rPr>
              <a:t>Software</a:t>
            </a:r>
            <a:r>
              <a:rPr lang="en-US" sz="1800" dirty="0" smtClean="0">
                <a:latin typeface="Graphik" panose="020B0503030202060203" pitchFamily="34" charset="77"/>
              </a:rPr>
              <a:t>: </a:t>
            </a:r>
            <a:r>
              <a:rPr lang="en-US" sz="1800" dirty="0" err="1" smtClean="0">
                <a:latin typeface="Graphik Light"/>
                <a:cs typeface="Graphik Light"/>
              </a:rPr>
              <a:t>Comtech</a:t>
            </a:r>
            <a:r>
              <a:rPr lang="en-US" sz="1800" dirty="0" smtClean="0">
                <a:latin typeface="Graphik Light"/>
                <a:cs typeface="Graphik Light"/>
              </a:rPr>
              <a:t> Location APIs, ARTIK Cloud Service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6927" y="1740221"/>
            <a:ext cx="4439604" cy="415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8360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1111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53"/>
          <a:stretch/>
        </p:blipFill>
        <p:spPr>
          <a:xfrm>
            <a:off x="9256843" y="4"/>
            <a:ext cx="2935167" cy="685799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615765" y="2682715"/>
            <a:ext cx="5912810" cy="1324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4000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Lab: MQTT</a:t>
            </a:r>
            <a:endParaRPr lang="en-US" sz="4000" dirty="0" smtClean="0">
              <a:solidFill>
                <a:prstClr val="white"/>
              </a:solidFill>
              <a:latin typeface="Graphik Light" charset="0"/>
              <a:ea typeface="Graphik Semibold" charset="0"/>
              <a:cs typeface="Graphik Semibold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042071" y="6381770"/>
            <a:ext cx="1454604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r>
              <a:rPr lang="en-US" sz="900" b="1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Confidential</a:t>
            </a:r>
            <a:endParaRPr lang="en-US" sz="900" b="1" dirty="0">
              <a:solidFill>
                <a:prstClr val="white"/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79939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ssage Queue Telemetry Transport (MQTT)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lvl="1">
              <a:buFont typeface="Wingdings" charset="2"/>
              <a:buChar char="§"/>
            </a:pPr>
            <a:r>
              <a:rPr lang="en-US" sz="2000" dirty="0" smtClean="0">
                <a:latin typeface="Graphik Light"/>
                <a:cs typeface="Graphik Light"/>
              </a:rPr>
              <a:t>MQTT history</a:t>
            </a:r>
          </a:p>
          <a:p>
            <a:pPr lvl="1">
              <a:buFont typeface="Wingdings" charset="2"/>
              <a:buChar char="§"/>
            </a:pPr>
            <a:r>
              <a:rPr lang="en-US" sz="2000" dirty="0" smtClean="0">
                <a:latin typeface="Graphik Light"/>
                <a:cs typeface="Graphik Light"/>
              </a:rPr>
              <a:t>Light</a:t>
            </a:r>
            <a:r>
              <a:rPr lang="en-US" sz="2000" dirty="0">
                <a:latin typeface="Graphik Light"/>
                <a:cs typeface="Graphik Light"/>
              </a:rPr>
              <a:t>-weight messaging </a:t>
            </a:r>
            <a:r>
              <a:rPr lang="en-US" sz="2000" dirty="0" smtClean="0">
                <a:latin typeface="Graphik Light"/>
                <a:cs typeface="Graphik Light"/>
              </a:rPr>
              <a:t>protocol</a:t>
            </a:r>
            <a:r>
              <a:rPr lang="en-US" sz="2000" dirty="0">
                <a:latin typeface="Graphik Light"/>
                <a:cs typeface="Graphik Light"/>
              </a:rPr>
              <a:t>, </a:t>
            </a:r>
            <a:r>
              <a:rPr lang="en-US" sz="2000" dirty="0" smtClean="0">
                <a:latin typeface="Graphik Light"/>
                <a:cs typeface="Graphik Light"/>
              </a:rPr>
              <a:t>rides on TCP</a:t>
            </a:r>
          </a:p>
          <a:p>
            <a:pPr lvl="1">
              <a:buFont typeface="Wingdings" charset="2"/>
              <a:buChar char="§"/>
            </a:pPr>
            <a:r>
              <a:rPr lang="en-US" sz="2000" dirty="0">
                <a:latin typeface="Graphik Light"/>
                <a:cs typeface="Graphik Light"/>
              </a:rPr>
              <a:t>Broker / Clients </a:t>
            </a:r>
            <a:r>
              <a:rPr lang="en-US" sz="2000" dirty="0" smtClean="0">
                <a:latin typeface="Graphik Light"/>
                <a:cs typeface="Graphik Light"/>
              </a:rPr>
              <a:t>architecture</a:t>
            </a:r>
            <a:endParaRPr lang="en-US" sz="2000" dirty="0">
              <a:latin typeface="Graphik Light"/>
              <a:cs typeface="Graphik Light"/>
            </a:endParaRPr>
          </a:p>
          <a:p>
            <a:pPr lvl="1">
              <a:buFont typeface="Wingdings" charset="2"/>
              <a:buChar char="§"/>
            </a:pPr>
            <a:r>
              <a:rPr lang="en-US" sz="2000" dirty="0" smtClean="0">
                <a:latin typeface="Graphik Light"/>
                <a:cs typeface="Graphik Light"/>
              </a:rPr>
              <a:t>Publication / Subscription messaging model</a:t>
            </a:r>
            <a:endParaRPr lang="en-US" sz="2000" dirty="0">
              <a:latin typeface="Graphik Light"/>
              <a:cs typeface="Graphik Light"/>
            </a:endParaRPr>
          </a:p>
          <a:p>
            <a:pPr lvl="1">
              <a:buFont typeface="Wingdings" charset="2"/>
              <a:buChar char="§"/>
            </a:pPr>
            <a:r>
              <a:rPr lang="en-US" sz="2000" dirty="0" smtClean="0">
                <a:latin typeface="Graphik Light"/>
                <a:cs typeface="Graphik Light"/>
              </a:rPr>
              <a:t>No pre-defined format for payload</a:t>
            </a:r>
          </a:p>
          <a:p>
            <a:pPr marL="285740" lvl="1" indent="0">
              <a:buNone/>
            </a:pPr>
            <a:endParaRPr lang="en-US" sz="1400" dirty="0">
              <a:latin typeface="Graphik Light"/>
              <a:cs typeface="Graphik Light"/>
            </a:endParaRPr>
          </a:p>
          <a:p>
            <a:pPr marL="0" indent="0">
              <a:buNone/>
            </a:pPr>
            <a:endParaRPr lang="en-US" dirty="0" smtClean="0">
              <a:latin typeface="Graphik Light"/>
              <a:cs typeface="Graphik Light"/>
            </a:endParaRPr>
          </a:p>
          <a:p>
            <a:pPr marL="0" indent="0">
              <a:buNone/>
            </a:pPr>
            <a:endParaRPr lang="en-US" dirty="0" smtClean="0">
              <a:latin typeface="Graphik Light"/>
              <a:cs typeface="Graphik Light"/>
            </a:endParaRP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2962" y="3940964"/>
            <a:ext cx="5826159" cy="262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4080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600" fill="hold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600" fill="hold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ssage Queue Telemetry Transport (MQTT)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r>
              <a:rPr lang="en-US" dirty="0">
                <a:latin typeface="Graphik Light"/>
                <a:cs typeface="Graphik Light"/>
              </a:rPr>
              <a:t>The </a:t>
            </a:r>
            <a:r>
              <a:rPr lang="en-US" b="1" dirty="0">
                <a:latin typeface="Graphik Light"/>
                <a:cs typeface="Graphik Light"/>
              </a:rPr>
              <a:t>publish/subscribe </a:t>
            </a:r>
            <a:r>
              <a:rPr lang="en-US" dirty="0">
                <a:latin typeface="Graphik Light"/>
                <a:cs typeface="Graphik Light"/>
              </a:rPr>
              <a:t>message pattern to provide </a:t>
            </a:r>
            <a:r>
              <a:rPr lang="en-US" b="1" dirty="0">
                <a:latin typeface="Graphik Light"/>
                <a:cs typeface="Graphik Light"/>
              </a:rPr>
              <a:t>one-to-many message distribution </a:t>
            </a:r>
            <a:r>
              <a:rPr lang="en-US" dirty="0">
                <a:latin typeface="Graphik Light"/>
                <a:cs typeface="Graphik Light"/>
              </a:rPr>
              <a:t>and decoupling of applications </a:t>
            </a:r>
          </a:p>
          <a:p>
            <a:r>
              <a:rPr lang="en-US" dirty="0">
                <a:latin typeface="Graphik Light"/>
                <a:cs typeface="Graphik Light"/>
              </a:rPr>
              <a:t>Publish/subscribe is </a:t>
            </a:r>
            <a:r>
              <a:rPr lang="en-US" b="1" dirty="0">
                <a:latin typeface="Graphik Light"/>
                <a:cs typeface="Graphik Light"/>
              </a:rPr>
              <a:t>event-driven </a:t>
            </a:r>
            <a:r>
              <a:rPr lang="en-US" dirty="0">
                <a:latin typeface="Graphik Light"/>
                <a:cs typeface="Graphik Light"/>
              </a:rPr>
              <a:t>and enables messages to be pushed to clients </a:t>
            </a:r>
          </a:p>
          <a:p>
            <a:r>
              <a:rPr lang="en-US" dirty="0">
                <a:latin typeface="Graphik Light"/>
                <a:cs typeface="Graphik Light"/>
              </a:rPr>
              <a:t>The central communication point is the MQTT </a:t>
            </a:r>
            <a:r>
              <a:rPr lang="en-US" b="1" dirty="0">
                <a:latin typeface="Graphik Light"/>
                <a:cs typeface="Graphik Light"/>
              </a:rPr>
              <a:t>broker</a:t>
            </a:r>
            <a:r>
              <a:rPr lang="en-US" dirty="0">
                <a:latin typeface="Graphik Light"/>
                <a:cs typeface="Graphik Light"/>
              </a:rPr>
              <a:t>, it is in charge of dispatching all messages between the senders and the rightful receiver </a:t>
            </a:r>
          </a:p>
          <a:p>
            <a:r>
              <a:rPr lang="en-US" dirty="0">
                <a:latin typeface="Graphik Light"/>
                <a:cs typeface="Graphik Light"/>
              </a:rPr>
              <a:t>Each client that publishes a message to the broker, includes a </a:t>
            </a:r>
            <a:r>
              <a:rPr lang="en-US" b="1" dirty="0">
                <a:latin typeface="Graphik Light"/>
                <a:cs typeface="Graphik Light"/>
              </a:rPr>
              <a:t>topic </a:t>
            </a:r>
            <a:r>
              <a:rPr lang="en-US" dirty="0">
                <a:latin typeface="Graphik Light"/>
                <a:cs typeface="Graphik Light"/>
              </a:rPr>
              <a:t>into the </a:t>
            </a:r>
            <a:r>
              <a:rPr lang="en-US" dirty="0" smtClean="0">
                <a:latin typeface="Graphik Light"/>
                <a:cs typeface="Graphik Light"/>
              </a:rPr>
              <a:t>message. </a:t>
            </a:r>
            <a:r>
              <a:rPr lang="en-US" b="1" dirty="0" smtClean="0">
                <a:latin typeface="Graphik Light"/>
                <a:cs typeface="Graphik Light"/>
              </a:rPr>
              <a:t>The </a:t>
            </a:r>
            <a:r>
              <a:rPr lang="en-US" b="1" dirty="0">
                <a:latin typeface="Graphik Light"/>
                <a:cs typeface="Graphik Light"/>
              </a:rPr>
              <a:t>topic is the routing information for the broker </a:t>
            </a:r>
            <a:endParaRPr lang="en-US" dirty="0">
              <a:latin typeface="Graphik Light"/>
              <a:cs typeface="Graphik Light"/>
            </a:endParaRPr>
          </a:p>
          <a:p>
            <a:r>
              <a:rPr lang="en-US" dirty="0">
                <a:latin typeface="Graphik Light"/>
                <a:cs typeface="Graphik Light"/>
              </a:rPr>
              <a:t>Each client that wants to receive messages subscribes to a certain topic and </a:t>
            </a:r>
            <a:r>
              <a:rPr lang="en-US" dirty="0" smtClean="0">
                <a:latin typeface="Graphik Light"/>
                <a:cs typeface="Graphik Light"/>
              </a:rPr>
              <a:t>the </a:t>
            </a:r>
            <a:r>
              <a:rPr lang="en-US" dirty="0">
                <a:latin typeface="Graphik Light"/>
                <a:cs typeface="Graphik Light"/>
              </a:rPr>
              <a:t>broker delivers all messages with the matching topic to the client </a:t>
            </a:r>
          </a:p>
          <a:p>
            <a:r>
              <a:rPr lang="en-US" dirty="0">
                <a:latin typeface="Graphik Light"/>
                <a:cs typeface="Graphik Light"/>
              </a:rPr>
              <a:t>Therefore, the clients don’t have to know each </a:t>
            </a:r>
            <a:r>
              <a:rPr lang="en-US" dirty="0" smtClean="0">
                <a:latin typeface="Graphik Light"/>
                <a:cs typeface="Graphik Light"/>
              </a:rPr>
              <a:t>other</a:t>
            </a:r>
            <a:endParaRPr lang="en-US" dirty="0">
              <a:latin typeface="Graphik Light"/>
              <a:cs typeface="Graphik Light"/>
            </a:endParaRPr>
          </a:p>
          <a:p>
            <a:r>
              <a:rPr lang="en-US" dirty="0">
                <a:latin typeface="Graphik Light"/>
                <a:cs typeface="Graphik Light"/>
              </a:rPr>
              <a:t>This architecture enables highly scalable solutions without dependencies between the data producers and the data consumers </a:t>
            </a:r>
          </a:p>
        </p:txBody>
      </p:sp>
    </p:spTree>
    <p:extLst>
      <p:ext uri="{BB962C8B-B14F-4D97-AF65-F5344CB8AC3E}">
        <p14:creationId xmlns:p14="http://schemas.microsoft.com/office/powerpoint/2010/main" val="42364642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Queue Telemetry Transport (MQT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Message Queue</a:t>
            </a:r>
            <a:r>
              <a:rPr lang="en-US" dirty="0"/>
              <a:t> </a:t>
            </a:r>
            <a:r>
              <a:rPr lang="en-US" dirty="0" smtClean="0"/>
              <a:t>stores message until they are consumed. In MQTT, it is possible the message is not processed by any client.</a:t>
            </a:r>
          </a:p>
          <a:p>
            <a:r>
              <a:rPr lang="en-US" dirty="0" smtClean="0"/>
              <a:t>In Message Queue, a message will only be consumed by one client</a:t>
            </a:r>
          </a:p>
          <a:p>
            <a:r>
              <a:rPr lang="en-US" dirty="0" smtClean="0"/>
              <a:t>MQTT has more flexibility compared to a </a:t>
            </a:r>
            <a:r>
              <a:rPr lang="en-US" smtClean="0"/>
              <a:t>message queu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726156" y="106029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3048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Queue Telemetry Transport (MQT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Graphik Light"/>
                <a:cs typeface="Graphik Light"/>
              </a:rPr>
              <a:t>MQTT client includes publisher or subscriber</a:t>
            </a:r>
          </a:p>
          <a:p>
            <a:r>
              <a:rPr lang="en-US" dirty="0" smtClean="0">
                <a:latin typeface="Graphik Light"/>
                <a:cs typeface="Graphik Light"/>
              </a:rPr>
              <a:t>In general, a MQTT client can be both a publisher &amp; subscriber at the same time</a:t>
            </a:r>
          </a:p>
          <a:p>
            <a:r>
              <a:rPr lang="en-US" dirty="0">
                <a:latin typeface="Graphik Light"/>
                <a:cs typeface="Graphik Light"/>
              </a:rPr>
              <a:t>A MQTT client can run on any device from a micro controller up to a server. </a:t>
            </a:r>
            <a:r>
              <a:rPr lang="en-US" dirty="0" smtClean="0">
                <a:latin typeface="Graphik Light"/>
                <a:cs typeface="Graphik Light"/>
              </a:rPr>
              <a:t>MQTT C client code only takes 30KB, Java code is about 100KB.</a:t>
            </a:r>
          </a:p>
          <a:p>
            <a:r>
              <a:rPr lang="en-US" dirty="0" smtClean="0">
                <a:latin typeface="Graphik Light"/>
                <a:cs typeface="Graphik Light"/>
              </a:rPr>
              <a:t>MQTT client libraries are available for a huge variety of programming languages, </a:t>
            </a:r>
            <a:r>
              <a:rPr lang="en-US" dirty="0" err="1" smtClean="0">
                <a:latin typeface="Graphik Light"/>
                <a:cs typeface="Graphik Light"/>
              </a:rPr>
              <a:t>e.g</a:t>
            </a:r>
            <a:r>
              <a:rPr lang="en-US" dirty="0" smtClean="0">
                <a:latin typeface="Graphik Light"/>
                <a:cs typeface="Graphik Light"/>
              </a:rPr>
              <a:t>, C/C++, </a:t>
            </a:r>
            <a:r>
              <a:rPr lang="en-US" dirty="0" err="1" smtClean="0">
                <a:latin typeface="Graphik Light"/>
                <a:cs typeface="Graphik Light"/>
              </a:rPr>
              <a:t>Arduino</a:t>
            </a:r>
            <a:r>
              <a:rPr lang="en-US" dirty="0" smtClean="0">
                <a:latin typeface="Graphik Light"/>
                <a:cs typeface="Graphik Light"/>
              </a:rPr>
              <a:t>, Java, JavaScript, Android, </a:t>
            </a:r>
            <a:r>
              <a:rPr lang="en-US" dirty="0" err="1" smtClean="0">
                <a:latin typeface="Graphik Light"/>
                <a:cs typeface="Graphik Light"/>
              </a:rPr>
              <a:t>iOS</a:t>
            </a:r>
            <a:r>
              <a:rPr lang="en-US" dirty="0" smtClean="0">
                <a:latin typeface="Graphik Light"/>
                <a:cs typeface="Graphik Light"/>
              </a:rPr>
              <a:t>, C#, .NET</a:t>
            </a:r>
          </a:p>
          <a:p>
            <a:pPr marL="0" indent="0">
              <a:buNone/>
            </a:pPr>
            <a:r>
              <a:rPr lang="en-US" sz="1600" dirty="0">
                <a:latin typeface="Graphik Light"/>
                <a:cs typeface="Graphik Light"/>
              </a:rPr>
              <a:t> </a:t>
            </a:r>
            <a:r>
              <a:rPr lang="en-US" sz="1600" dirty="0" smtClean="0">
                <a:latin typeface="Graphik Light"/>
                <a:cs typeface="Graphik Light"/>
              </a:rPr>
              <a:t> </a:t>
            </a:r>
            <a:r>
              <a:rPr lang="en-US" sz="1600" dirty="0" smtClean="0">
                <a:latin typeface="Graphik Light"/>
                <a:cs typeface="Graphik Light"/>
                <a:hlinkClick r:id="rId2"/>
              </a:rPr>
              <a:t>https</a:t>
            </a:r>
            <a:r>
              <a:rPr lang="en-US" sz="1600" dirty="0">
                <a:latin typeface="Graphik Light"/>
                <a:cs typeface="Graphik Light"/>
                <a:hlinkClick r:id="rId2"/>
              </a:rPr>
              <a:t>://github.com/mqtt/mqtt.github.io/wiki/</a:t>
            </a:r>
            <a:r>
              <a:rPr lang="en-US" sz="1600" dirty="0" smtClean="0">
                <a:latin typeface="Graphik Light"/>
                <a:cs typeface="Graphik Light"/>
                <a:hlinkClick r:id="rId2"/>
              </a:rPr>
              <a:t>libraries</a:t>
            </a:r>
            <a:endParaRPr lang="en-US" sz="1600" dirty="0" smtClean="0">
              <a:latin typeface="Graphik Light"/>
              <a:cs typeface="Graphik Light"/>
            </a:endParaRPr>
          </a:p>
          <a:p>
            <a:r>
              <a:rPr lang="en-US" dirty="0" smtClean="0">
                <a:latin typeface="Graphik Light"/>
                <a:cs typeface="Graphik Light"/>
              </a:rPr>
              <a:t>MQTT client: Eclipse </a:t>
            </a:r>
            <a:r>
              <a:rPr lang="en-US" dirty="0" err="1" smtClean="0">
                <a:latin typeface="Graphik Light"/>
                <a:cs typeface="Graphik Light"/>
              </a:rPr>
              <a:t>Paho</a:t>
            </a:r>
            <a:r>
              <a:rPr lang="en-US" dirty="0" smtClean="0">
                <a:latin typeface="Graphik Light"/>
                <a:cs typeface="Graphik Light"/>
              </a:rPr>
              <a:t> </a:t>
            </a:r>
          </a:p>
          <a:p>
            <a:pPr marL="0" indent="0">
              <a:buNone/>
            </a:pPr>
            <a:r>
              <a:rPr lang="en-US" dirty="0">
                <a:latin typeface="Graphik Light"/>
                <a:cs typeface="Graphik Light"/>
              </a:rPr>
              <a:t> 	 </a:t>
            </a:r>
            <a:r>
              <a:rPr lang="en-US" dirty="0" smtClean="0">
                <a:latin typeface="Graphik Light"/>
                <a:cs typeface="Graphik Light"/>
              </a:rPr>
              <a:t>              </a:t>
            </a:r>
            <a:r>
              <a:rPr lang="en-US" dirty="0" err="1" smtClean="0">
                <a:latin typeface="Graphik Light"/>
                <a:cs typeface="Graphik Light"/>
              </a:rPr>
              <a:t>MQTT.fx</a:t>
            </a:r>
            <a:r>
              <a:rPr lang="en-US" dirty="0" smtClean="0">
                <a:latin typeface="Graphik Light"/>
                <a:cs typeface="Graphik Light"/>
              </a:rPr>
              <a:t>(available for Win/</a:t>
            </a:r>
            <a:r>
              <a:rPr lang="en-US" dirty="0" err="1" smtClean="0">
                <a:latin typeface="Graphik Light"/>
                <a:cs typeface="Graphik Light"/>
              </a:rPr>
              <a:t>MacOS</a:t>
            </a:r>
            <a:r>
              <a:rPr lang="en-US" dirty="0" smtClean="0">
                <a:latin typeface="Graphik Light"/>
                <a:cs typeface="Graphik Light"/>
              </a:rPr>
              <a:t>/Linux) etc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6002" y="4971460"/>
            <a:ext cx="2053797" cy="48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242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Queue Telemetry Transport (MQT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856" y="1235689"/>
            <a:ext cx="11695469" cy="5200043"/>
          </a:xfrm>
        </p:spPr>
        <p:txBody>
          <a:bodyPr/>
          <a:lstStyle/>
          <a:p>
            <a:r>
              <a:rPr lang="en-US" dirty="0" smtClean="0">
                <a:latin typeface="Graphik Light"/>
                <a:cs typeface="Graphik Light"/>
              </a:rPr>
              <a:t>MQTT Broker is responsible for receiving all messages, filtering them, and sending the messages to all subscribed clients.</a:t>
            </a:r>
          </a:p>
          <a:p>
            <a:r>
              <a:rPr lang="en-US" dirty="0" smtClean="0">
                <a:latin typeface="Graphik Light"/>
                <a:cs typeface="Graphik Light"/>
              </a:rPr>
              <a:t>It holds the session of all persistent clients including subscriptions and missed messages</a:t>
            </a:r>
          </a:p>
          <a:p>
            <a:r>
              <a:rPr lang="en-US" dirty="0" smtClean="0">
                <a:latin typeface="Graphik Light"/>
                <a:cs typeface="Graphik Light"/>
              </a:rPr>
              <a:t>Authentication and authorization of clients.</a:t>
            </a:r>
          </a:p>
          <a:p>
            <a:r>
              <a:rPr lang="en-US" dirty="0" smtClean="0">
                <a:latin typeface="Graphik Light"/>
                <a:cs typeface="Graphik Light"/>
              </a:rPr>
              <a:t>Self Hosted MQTT brokers: </a:t>
            </a:r>
          </a:p>
          <a:p>
            <a:pPr marL="0" indent="0">
              <a:buNone/>
            </a:pPr>
            <a:r>
              <a:rPr lang="en-US" dirty="0">
                <a:latin typeface="Graphik Light"/>
                <a:cs typeface="Graphik Light"/>
              </a:rPr>
              <a:t> </a:t>
            </a:r>
            <a:r>
              <a:rPr lang="en-US" dirty="0" smtClean="0">
                <a:latin typeface="Graphik Light"/>
                <a:cs typeface="Graphik Light"/>
              </a:rPr>
              <a:t>   Eclipse </a:t>
            </a:r>
            <a:r>
              <a:rPr lang="en-US" dirty="0" err="1" smtClean="0">
                <a:latin typeface="Graphik Light"/>
                <a:cs typeface="Graphik Light"/>
              </a:rPr>
              <a:t>Mosquitto</a:t>
            </a:r>
            <a:r>
              <a:rPr lang="en-US" dirty="0" smtClean="0">
                <a:latin typeface="Graphik Light"/>
                <a:cs typeface="Graphik Light"/>
              </a:rPr>
              <a:t>                         </a:t>
            </a:r>
            <a:r>
              <a:rPr lang="en-US" dirty="0" err="1" smtClean="0">
                <a:latin typeface="Graphik Light"/>
                <a:cs typeface="Graphik Light"/>
              </a:rPr>
              <a:t>HiveMQ</a:t>
            </a:r>
            <a:r>
              <a:rPr lang="en-US" dirty="0" smtClean="0">
                <a:latin typeface="Graphik Light"/>
                <a:cs typeface="Graphik Light"/>
              </a:rPr>
              <a:t>(licensed) </a:t>
            </a:r>
          </a:p>
          <a:p>
            <a:pPr>
              <a:buFont typeface="Arial"/>
              <a:buChar char="•"/>
            </a:pPr>
            <a:r>
              <a:rPr lang="en-US" dirty="0" smtClean="0">
                <a:latin typeface="Graphik Light"/>
                <a:cs typeface="Graphik Light"/>
              </a:rPr>
              <a:t>Cloud based MQTT brokers:  </a:t>
            </a:r>
          </a:p>
          <a:p>
            <a:pPr marL="0" indent="0">
              <a:buNone/>
            </a:pPr>
            <a:r>
              <a:rPr lang="en-US" dirty="0">
                <a:latin typeface="Graphik Light"/>
                <a:cs typeface="Graphik Light"/>
              </a:rPr>
              <a:t> </a:t>
            </a:r>
            <a:r>
              <a:rPr lang="en-US" dirty="0" smtClean="0">
                <a:latin typeface="Graphik Light"/>
                <a:cs typeface="Graphik Light"/>
              </a:rPr>
              <a:t>   AWS                                      Microsoft Azure                          IBM </a:t>
            </a:r>
            <a:r>
              <a:rPr lang="en-US" dirty="0" err="1" smtClean="0">
                <a:latin typeface="Graphik Light"/>
                <a:cs typeface="Graphik Light"/>
              </a:rPr>
              <a:t>Bluemix</a:t>
            </a:r>
            <a:r>
              <a:rPr lang="en-US" dirty="0" smtClean="0">
                <a:latin typeface="Graphik Light"/>
                <a:cs typeface="Graphik Light"/>
              </a:rPr>
              <a:t> </a:t>
            </a:r>
          </a:p>
          <a:p>
            <a:pPr marL="0" indent="0">
              <a:buNone/>
            </a:pPr>
            <a:r>
              <a:rPr lang="en-US" dirty="0" smtClean="0">
                <a:latin typeface="Graphik Light"/>
                <a:cs typeface="Graphik Light"/>
              </a:rPr>
              <a:t>     Eclipse </a:t>
            </a:r>
            <a:r>
              <a:rPr lang="en-US" dirty="0" err="1" smtClean="0">
                <a:latin typeface="Graphik Light"/>
                <a:cs typeface="Graphik Light"/>
              </a:rPr>
              <a:t>Mosquitto</a:t>
            </a:r>
            <a:r>
              <a:rPr lang="en-US" dirty="0">
                <a:latin typeface="Graphik Light"/>
                <a:cs typeface="Graphik Light"/>
              </a:rPr>
              <a:t> </a:t>
            </a:r>
            <a:r>
              <a:rPr lang="en-US" sz="1200" dirty="0" smtClean="0">
                <a:latin typeface="Graphik Light"/>
                <a:cs typeface="Graphik Light"/>
              </a:rPr>
              <a:t>(</a:t>
            </a:r>
            <a:r>
              <a:rPr lang="en-US" sz="1200" dirty="0" err="1" smtClean="0">
                <a:latin typeface="Graphik Light"/>
                <a:cs typeface="Graphik Light"/>
              </a:rPr>
              <a:t>test.mosquitto.org</a:t>
            </a:r>
            <a:r>
              <a:rPr lang="en-US" sz="1200" dirty="0" smtClean="0">
                <a:latin typeface="Graphik Light"/>
                <a:cs typeface="Graphik Light"/>
              </a:rPr>
              <a:t>)</a:t>
            </a:r>
            <a:r>
              <a:rPr lang="en-US" dirty="0" smtClean="0">
                <a:latin typeface="Graphik Light"/>
                <a:cs typeface="Graphik Light"/>
              </a:rPr>
              <a:t>                  </a:t>
            </a:r>
            <a:r>
              <a:rPr lang="en-US" dirty="0" err="1" smtClean="0">
                <a:latin typeface="Graphik Light"/>
                <a:cs typeface="Graphik Light"/>
              </a:rPr>
              <a:t>HiveMQ</a:t>
            </a:r>
            <a:r>
              <a:rPr lang="en-US" dirty="0" smtClean="0">
                <a:latin typeface="Graphik Light"/>
                <a:cs typeface="Graphik Light"/>
              </a:rPr>
              <a:t> </a:t>
            </a:r>
            <a:r>
              <a:rPr lang="en-US" sz="2400" dirty="0">
                <a:latin typeface="Graphik Light"/>
                <a:cs typeface="Graphik Light"/>
              </a:rPr>
              <a:t>( </a:t>
            </a:r>
            <a:r>
              <a:rPr lang="en-US" sz="2400" dirty="0" err="1">
                <a:latin typeface="Graphik Light"/>
                <a:cs typeface="Graphik Light"/>
              </a:rPr>
              <a:t>broker.hivemq.com</a:t>
            </a:r>
            <a:r>
              <a:rPr lang="en-US" sz="2400" dirty="0">
                <a:latin typeface="Graphik Light"/>
                <a:cs typeface="Graphik Light"/>
              </a:rPr>
              <a:t>)</a:t>
            </a:r>
            <a:r>
              <a:rPr lang="en-US" dirty="0">
                <a:latin typeface="Graphik Light"/>
                <a:cs typeface="Graphik Light"/>
              </a:rPr>
              <a:t>             </a:t>
            </a:r>
            <a:endParaRPr lang="en-US" dirty="0" smtClean="0">
              <a:latin typeface="Graphik Light"/>
              <a:cs typeface="Graphik Ligh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456" y="3801144"/>
            <a:ext cx="821979" cy="6072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291" y="3688481"/>
            <a:ext cx="808679" cy="6065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3375" y="4985905"/>
            <a:ext cx="1522081" cy="42730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5916" y="4876163"/>
            <a:ext cx="1387375" cy="537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2230" y="4876163"/>
            <a:ext cx="1834435" cy="5090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9176" y="5559356"/>
            <a:ext cx="821979" cy="60723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7646" y="5539448"/>
            <a:ext cx="808679" cy="60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767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raphik Regular"/>
                <a:cs typeface="Graphik Regular"/>
              </a:rPr>
              <a:t>Samsung ARTIK</a:t>
            </a:r>
            <a:r>
              <a:rPr lang="en-US" baseline="30000" dirty="0">
                <a:latin typeface="Graphik Regular"/>
                <a:cs typeface="Graphik Regular"/>
              </a:rPr>
              <a:t>™  </a:t>
            </a:r>
            <a:r>
              <a:rPr lang="en-US" dirty="0">
                <a:latin typeface="Graphik Light"/>
                <a:cs typeface="Graphik Light"/>
              </a:rPr>
              <a:t>053/053s, </a:t>
            </a:r>
            <a:r>
              <a:rPr lang="en-US" dirty="0" smtClean="0">
                <a:latin typeface="Graphik Light"/>
                <a:cs typeface="Graphik Light"/>
              </a:rPr>
              <a:t>055s Wi-Fi</a:t>
            </a:r>
            <a:r>
              <a:rPr lang="en-US" baseline="30000" dirty="0" smtClean="0">
                <a:latin typeface="Graphik Light"/>
                <a:cs typeface="Graphik Light"/>
              </a:rPr>
              <a:t>®</a:t>
            </a:r>
            <a:r>
              <a:rPr lang="en-US" dirty="0" smtClean="0">
                <a:latin typeface="Graphik Light"/>
                <a:cs typeface="Graphik Light"/>
              </a:rPr>
              <a:t> edge nodes</a:t>
            </a:r>
            <a:r>
              <a:rPr lang="en-US" dirty="0" smtClean="0">
                <a:latin typeface="Graphik Regular"/>
                <a:cs typeface="Graphik Regular"/>
              </a:rPr>
              <a:t/>
            </a:r>
            <a:br>
              <a:rPr lang="en-US" dirty="0" smtClean="0">
                <a:latin typeface="Graphik Regular"/>
                <a:cs typeface="Graphik Regular"/>
              </a:rPr>
            </a:br>
            <a:r>
              <a:rPr lang="en-US" dirty="0" smtClean="0">
                <a:solidFill>
                  <a:srgbClr val="ED7D31"/>
                </a:solidFill>
              </a:rPr>
              <a:t>Create secure, next-gen edge products </a:t>
            </a:r>
            <a:endParaRPr lang="en-US" sz="1800" dirty="0">
              <a:solidFill>
                <a:srgbClr val="ED7D31"/>
              </a:solidFill>
            </a:endParaRPr>
          </a:p>
        </p:txBody>
      </p:sp>
      <p:graphicFrame>
        <p:nvGraphicFramePr>
          <p:cNvPr id="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6295990"/>
              </p:ext>
            </p:extLst>
          </p:nvPr>
        </p:nvGraphicFramePr>
        <p:xfrm>
          <a:off x="4999700" y="1638195"/>
          <a:ext cx="7121740" cy="5394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5720"/>
                <a:gridCol w="5336020"/>
              </a:tblGrid>
              <a:tr h="224592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Processor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Main: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ARM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Cortex® R4 @ 320 MHz</a:t>
                      </a:r>
                    </a:p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WLAN: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ARM Cortex® R4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@ 480 MHz</a:t>
                      </a:r>
                    </a:p>
                    <a:p>
                      <a:pPr algn="l"/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Securit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: ARM Cortex M0</a:t>
                      </a:r>
                      <a:endParaRPr lang="en-US" sz="1600" dirty="0">
                        <a:solidFill>
                          <a:schemeClr val="tx1"/>
                        </a:solidFill>
                        <a:latin typeface="Graphik Light"/>
                        <a:cs typeface="Graphik Light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845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Memory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RAM: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1.4 MB</a:t>
                      </a:r>
                    </a:p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Flash: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8 MB SPI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Flash on module</a:t>
                      </a:r>
                      <a:endParaRPr lang="en-US" sz="1600" dirty="0">
                        <a:solidFill>
                          <a:schemeClr val="tx1"/>
                        </a:solidFill>
                        <a:latin typeface="Graphik Light"/>
                        <a:cs typeface="Graphik Light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296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Connectivity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WLAN (Wi-Fi):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IEEE 802.11 b/g/n</a:t>
                      </a:r>
                      <a:endParaRPr lang="en-US" sz="1600" dirty="0">
                        <a:solidFill>
                          <a:schemeClr val="tx1"/>
                        </a:solidFill>
                        <a:latin typeface="Graphik Light"/>
                        <a:cs typeface="Graphik Light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296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Regulatory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Graphik Light"/>
                          <a:cs typeface="Graphik Light"/>
                        </a:rPr>
                        <a:t>FCC (US), IC(Canada),</a:t>
                      </a:r>
                      <a:r>
                        <a:rPr lang="en-US" sz="1600" baseline="0" dirty="0" smtClean="0">
                          <a:latin typeface="Graphik Light"/>
                          <a:cs typeface="Graphik Light"/>
                        </a:rPr>
                        <a:t> CE(EU), KC(Korea), SRRC(China)</a:t>
                      </a:r>
                      <a:endParaRPr lang="en-US" sz="1600" dirty="0" smtClean="0">
                        <a:latin typeface="Graphik Light"/>
                        <a:cs typeface="Graphik Light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645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I/O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62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2xSPI, 5xUART (2-pin), 4xI2C,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7xPWM, 28xGPIO, 1xJTAG, 4xADC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Graphik Light"/>
                        <a:cs typeface="Graphik Light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Operating voltag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62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053,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 053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s: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5-12 VDC;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 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055s: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3.3 VDC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044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Temperatur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62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-20° to 85° (°C)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Siz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055s: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15 mm W x 26 mm H x 3.9 mm D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053,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 053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s: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15 mm W x 40 mm H x 3.9 mm D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Graphik Regular"/>
                          <a:cs typeface="Graphik Regular"/>
                        </a:rPr>
                        <a:t>Security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Graphik Regular"/>
                        <a:cs typeface="Graphik Regular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3411538" algn="l"/>
                        </a:tabLst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Secure Subsystem,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Hardware-protect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Graphik Light"/>
                          <a:cs typeface="Graphik Light"/>
                        </a:rPr>
                        <a:t> key storage with secure point-to-point authentication and data transfer, secure boot*, KMS* </a:t>
                      </a:r>
                    </a:p>
                    <a:p>
                      <a:pPr algn="l">
                        <a:tabLst>
                          <a:tab pos="3411538" algn="l"/>
                        </a:tabLst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Graphik Medium"/>
                          <a:cs typeface="Graphik Medium"/>
                        </a:rPr>
                        <a:t>*S-versions only</a:t>
                      </a:r>
                      <a:endParaRPr lang="en-US" sz="1000" dirty="0">
                        <a:solidFill>
                          <a:schemeClr val="tx1"/>
                        </a:solidFill>
                        <a:latin typeface="Graphik Medium"/>
                        <a:cs typeface="Graphik Medium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94945" y="2988722"/>
            <a:ext cx="4375314" cy="297922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</a:pPr>
            <a:r>
              <a:rPr lang="en-US" sz="1800" dirty="0" smtClean="0"/>
              <a:t>Home health monitors, AEDs, fitness equipment, CPAP</a:t>
            </a:r>
          </a:p>
          <a:p>
            <a:pPr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</a:pPr>
            <a:r>
              <a:rPr lang="en-US" sz="1800" dirty="0" smtClean="0"/>
              <a:t>Smoke detectors, thermostats, energy monitors, appliances</a:t>
            </a:r>
          </a:p>
          <a:p>
            <a:pPr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</a:pPr>
            <a:r>
              <a:rPr lang="en-US" sz="1800" dirty="0" smtClean="0"/>
              <a:t>Sensors, lighting controllers, motors, valves</a:t>
            </a:r>
          </a:p>
          <a:p>
            <a:pPr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</a:pPr>
            <a:r>
              <a:rPr lang="en-US" sz="1800" dirty="0" smtClean="0"/>
              <a:t>Access control, fire monitors, smart switches</a:t>
            </a:r>
          </a:p>
          <a:p>
            <a:pPr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</a:pPr>
            <a:endParaRPr lang="en-US" sz="1800" dirty="0" smtClean="0"/>
          </a:p>
        </p:txBody>
      </p:sp>
      <p:pic>
        <p:nvPicPr>
          <p:cNvPr id="19" name="Picture 18" descr="wifi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3596" y="1221211"/>
            <a:ext cx="334131" cy="214399"/>
          </a:xfrm>
          <a:prstGeom prst="rect">
            <a:avLst/>
          </a:prstGeom>
        </p:spPr>
      </p:pic>
      <p:pic>
        <p:nvPicPr>
          <p:cNvPr id="11" name="Picture 10" descr="Screen Shot 2018-06-21 at 9.32.01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241362" y="725823"/>
            <a:ext cx="1092029" cy="2916774"/>
          </a:xfrm>
          <a:prstGeom prst="rect">
            <a:avLst/>
          </a:prstGeom>
        </p:spPr>
      </p:pic>
      <p:pic>
        <p:nvPicPr>
          <p:cNvPr id="12" name="Picture 11" descr="Screen Shot 2018-06-21 at 9.42.12 A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732" y="1638195"/>
            <a:ext cx="829956" cy="141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0419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111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1111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53"/>
          <a:stretch/>
        </p:blipFill>
        <p:spPr>
          <a:xfrm>
            <a:off x="9256842" y="4"/>
            <a:ext cx="2935167" cy="685799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21567" y="2682713"/>
            <a:ext cx="2936166" cy="1324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4000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APPENDIX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042071" y="6381768"/>
            <a:ext cx="1454604" cy="2313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r"/>
            <a:r>
              <a:rPr lang="en-US" sz="900" b="1" dirty="0" smtClean="0">
                <a:solidFill>
                  <a:prstClr val="white"/>
                </a:solidFill>
                <a:latin typeface="Graphik Light" charset="0"/>
                <a:ea typeface="Graphik Semibold" charset="0"/>
                <a:cs typeface="Graphik Semibold" charset="0"/>
              </a:rPr>
              <a:t>Confidential</a:t>
            </a:r>
            <a:endParaRPr lang="en-US" sz="900" b="1" dirty="0">
              <a:solidFill>
                <a:prstClr val="white"/>
              </a:solidFill>
              <a:latin typeface="Graphik Semibold" charset="0"/>
              <a:ea typeface="Graphik Semibold" charset="0"/>
              <a:cs typeface="Graphik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654185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TIK 05x Starter Board</a:t>
            </a:r>
            <a:endParaRPr lang="en-US" dirty="0"/>
          </a:p>
        </p:txBody>
      </p:sp>
      <p:pic>
        <p:nvPicPr>
          <p:cNvPr id="4" name="Picture 3" descr="Screen Shot 2017-10-30 at 11.51.37 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1527" y="1108182"/>
            <a:ext cx="6139388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08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Graphik Light"/>
                <a:cs typeface="Graphik Light"/>
              </a:rPr>
              <a:t>Wi-Fi Subsystem</a:t>
            </a:r>
            <a:endParaRPr lang="en-US" dirty="0">
              <a:latin typeface="Graphik Light"/>
              <a:cs typeface="Graphik Ligh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</a:pPr>
            <a:r>
              <a:rPr lang="en-US" dirty="0" smtClean="0"/>
              <a:t>ARTIK05x supports 802.11b</a:t>
            </a:r>
            <a:r>
              <a:rPr lang="en-US" dirty="0"/>
              <a:t>/g/</a:t>
            </a:r>
            <a:r>
              <a:rPr lang="en-US" dirty="0" smtClean="0"/>
              <a:t>n Wi-Fi at 2.4GHz</a:t>
            </a:r>
            <a:endParaRPr lang="en-US" dirty="0"/>
          </a:p>
          <a:p>
            <a:pPr>
              <a:buFont typeface="Wingdings" charset="2"/>
              <a:buChar char="§"/>
            </a:pPr>
            <a:r>
              <a:rPr lang="en-US" dirty="0" smtClean="0"/>
              <a:t>Dedicated Wi-Fi Processor subsystem with 480MHz 32-bit ARM Cortex R4 supported by 32KB I-Cache and 16KB D-Cache </a:t>
            </a:r>
          </a:p>
          <a:p>
            <a:pPr>
              <a:buFont typeface="Wingdings" charset="2"/>
              <a:buChar char="§"/>
            </a:pPr>
            <a:r>
              <a:rPr lang="en-US" dirty="0" err="1" smtClean="0"/>
              <a:t>WiFi</a:t>
            </a:r>
            <a:r>
              <a:rPr lang="en-US" dirty="0" smtClean="0"/>
              <a:t> throughput: ~25 Mbps single stream </a:t>
            </a:r>
          </a:p>
          <a:p>
            <a:pPr>
              <a:buFont typeface="Wingdings" charset="2"/>
              <a:buChar char="§"/>
            </a:pPr>
            <a:r>
              <a:rPr lang="en-US" dirty="0" smtClean="0"/>
              <a:t>WPA/WPA2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7764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raphik Regular"/>
                <a:cs typeface="Graphik Regular"/>
              </a:rPr>
              <a:t>Samsung ARTIK</a:t>
            </a:r>
            <a:r>
              <a:rPr lang="en-US" baseline="30000" dirty="0">
                <a:latin typeface="Graphik Regular"/>
                <a:cs typeface="Graphik Regular"/>
              </a:rPr>
              <a:t>™  </a:t>
            </a:r>
            <a:r>
              <a:rPr lang="en-US" dirty="0" smtClean="0">
                <a:latin typeface="Graphik Light"/>
                <a:cs typeface="Graphik Light"/>
              </a:rPr>
              <a:t>05x </a:t>
            </a:r>
            <a:r>
              <a:rPr lang="en-US" dirty="0" err="1" smtClean="0">
                <a:latin typeface="Graphik Light"/>
                <a:cs typeface="Graphik Light"/>
              </a:rPr>
              <a:t>WiFi</a:t>
            </a:r>
            <a:r>
              <a:rPr lang="en-US" dirty="0" smtClean="0">
                <a:latin typeface="Graphik Light"/>
                <a:cs typeface="Graphik Light"/>
              </a:rPr>
              <a:t> – </a:t>
            </a:r>
            <a:r>
              <a:rPr lang="en-US" dirty="0" err="1" smtClean="0">
                <a:latin typeface="Graphik Light"/>
                <a:cs typeface="Graphik Light"/>
              </a:rPr>
              <a:t>wpa_supplicant</a:t>
            </a:r>
            <a:endParaRPr lang="en-US" dirty="0">
              <a:latin typeface="Graphik Light"/>
              <a:cs typeface="Graphik Light"/>
            </a:endParaRPr>
          </a:p>
        </p:txBody>
      </p:sp>
      <p:sp>
        <p:nvSpPr>
          <p:cNvPr id="4" name="Rectangle 8"/>
          <p:cNvSpPr>
            <a:spLocks noGrp="1"/>
          </p:cNvSpPr>
          <p:nvPr>
            <p:ph idx="1"/>
          </p:nvPr>
        </p:nvSpPr>
        <p:spPr>
          <a:xfrm>
            <a:off x="694944" y="1912379"/>
            <a:ext cx="10799064" cy="3167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>
              <a:lnSpc>
                <a:spcPct val="150000"/>
              </a:lnSpc>
              <a:buFont typeface="Wingdings" charset="2"/>
              <a:buChar char="§"/>
            </a:pPr>
            <a:r>
              <a:rPr lang="en-US" altLang="ko-KR" dirty="0"/>
              <a:t>Supplicant is used in the client stations for key negotiation with a WPA Authenticator</a:t>
            </a:r>
            <a:r>
              <a:rPr lang="en-US" altLang="ko-KR" dirty="0" smtClean="0"/>
              <a:t>.</a:t>
            </a:r>
          </a:p>
          <a:p>
            <a:pPr marL="342900" lvl="1" indent="-342900">
              <a:lnSpc>
                <a:spcPct val="150000"/>
              </a:lnSpc>
              <a:buFont typeface="Wingdings" charset="2"/>
              <a:buChar char="§"/>
            </a:pPr>
            <a:r>
              <a:rPr lang="en-US" altLang="ko-KR" dirty="0" err="1" smtClean="0"/>
              <a:t>wpa_supplicant</a:t>
            </a:r>
            <a:r>
              <a:rPr lang="en-US" altLang="ko-KR" dirty="0" smtClean="0"/>
              <a:t> is cross-platform supplicant with support for WEP, WPA and WPA2.</a:t>
            </a:r>
          </a:p>
          <a:p>
            <a:pPr marL="342900" lvl="1" indent="-342900">
              <a:lnSpc>
                <a:spcPct val="150000"/>
              </a:lnSpc>
              <a:buFont typeface="Wingdings" charset="2"/>
              <a:buChar char="§"/>
            </a:pPr>
            <a:r>
              <a:rPr lang="en-US" altLang="ko-KR" dirty="0" err="1" smtClean="0"/>
              <a:t>wpa_supplicant</a:t>
            </a:r>
            <a:r>
              <a:rPr lang="en-US" altLang="ko-KR" dirty="0" smtClean="0"/>
              <a:t> is designed to use hardware, driver and OS independent, portable C code for all WPA functionality.</a:t>
            </a:r>
          </a:p>
          <a:p>
            <a:pPr marL="342900" lvl="1" indent="-342900">
              <a:lnSpc>
                <a:spcPct val="150000"/>
              </a:lnSpc>
              <a:buFont typeface="Wingdings" charset="2"/>
              <a:buChar char="§"/>
            </a:pPr>
            <a:r>
              <a:rPr lang="en-US" altLang="ko-KR" dirty="0" smtClean="0"/>
              <a:t>A daemon program running in the background and acting as the backend component controls the wireless connection.</a:t>
            </a:r>
          </a:p>
        </p:txBody>
      </p:sp>
    </p:spTree>
    <p:extLst>
      <p:ext uri="{BB962C8B-B14F-4D97-AF65-F5344CB8AC3E}">
        <p14:creationId xmlns:p14="http://schemas.microsoft.com/office/powerpoint/2010/main" val="20101578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94944" y="133194"/>
            <a:ext cx="10799064" cy="9144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Graphik Regular"/>
                <a:cs typeface="Graphik Regular"/>
              </a:rPr>
              <a:t>Samsung ARTIK</a:t>
            </a:r>
            <a:r>
              <a:rPr lang="en-US" baseline="30000" dirty="0">
                <a:solidFill>
                  <a:srgbClr val="000000"/>
                </a:solidFill>
              </a:rPr>
              <a:t>™  </a:t>
            </a:r>
            <a:r>
              <a:rPr lang="en-US" dirty="0" smtClean="0">
                <a:solidFill>
                  <a:srgbClr val="000000"/>
                </a:solidFill>
              </a:rPr>
              <a:t>05x </a:t>
            </a:r>
            <a:r>
              <a:rPr lang="en-US" dirty="0">
                <a:solidFill>
                  <a:srgbClr val="000000"/>
                </a:solidFill>
              </a:rPr>
              <a:t>Power Management</a:t>
            </a:r>
          </a:p>
        </p:txBody>
      </p:sp>
      <p:pic>
        <p:nvPicPr>
          <p:cNvPr id="7" name="Picture 6" descr="Screen Shot 2018-06-21 at 9.41.51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819008"/>
            <a:ext cx="10668000" cy="34671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62000" y="819008"/>
            <a:ext cx="919655" cy="3333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creen Shot 2018-06-21 at 9.42.33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00" y="4221665"/>
            <a:ext cx="10579100" cy="20066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62000" y="4221665"/>
            <a:ext cx="919655" cy="3333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6081576" y="807621"/>
            <a:ext cx="4513643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600" dirty="0" smtClean="0">
                <a:latin typeface="Graphik Regular"/>
                <a:cs typeface="Graphik Regular"/>
              </a:rPr>
              <a:t>(measured using 5-12V system power supply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28136" y="4239076"/>
            <a:ext cx="4421515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600" dirty="0" smtClean="0">
                <a:latin typeface="Graphik Regular"/>
                <a:cs typeface="Graphik Regular"/>
              </a:rPr>
              <a:t>(measured using 3.3V system power supply)</a:t>
            </a:r>
          </a:p>
        </p:txBody>
      </p:sp>
    </p:spTree>
    <p:extLst>
      <p:ext uri="{BB962C8B-B14F-4D97-AF65-F5344CB8AC3E}">
        <p14:creationId xmlns:p14="http://schemas.microsoft.com/office/powerpoint/2010/main" val="14551772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zenRT</a:t>
            </a:r>
            <a:r>
              <a:rPr lang="en-US" dirty="0" smtClean="0"/>
              <a:t> OS Bas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</a:pPr>
            <a:r>
              <a:rPr lang="en-US" sz="2000" dirty="0">
                <a:latin typeface="Graphik Light"/>
                <a:cs typeface="Graphik Light"/>
              </a:rPr>
              <a:t>ARTIK 05x are powered by </a:t>
            </a:r>
            <a:r>
              <a:rPr lang="en-US" sz="2000" dirty="0" err="1" smtClean="0">
                <a:latin typeface="Graphik Light"/>
                <a:cs typeface="Graphik Light"/>
              </a:rPr>
              <a:t>TizenRT</a:t>
            </a:r>
            <a:r>
              <a:rPr lang="en-US" sz="2000" dirty="0" smtClean="0">
                <a:latin typeface="Graphik Light"/>
                <a:cs typeface="Graphik Light"/>
              </a:rPr>
              <a:t> RTOS.</a:t>
            </a:r>
            <a:endParaRPr lang="en-US" sz="2000" dirty="0">
              <a:latin typeface="Graphik Light"/>
              <a:cs typeface="Graphik Light"/>
            </a:endParaRPr>
          </a:p>
          <a:p>
            <a:pPr>
              <a:buFont typeface="Wingdings" charset="2"/>
              <a:buChar char="§"/>
            </a:pPr>
            <a:r>
              <a:rPr lang="en-US" sz="2000" dirty="0" err="1">
                <a:latin typeface="Graphik Light"/>
                <a:cs typeface="Graphik Light"/>
              </a:rPr>
              <a:t>TizenRT</a:t>
            </a:r>
            <a:r>
              <a:rPr lang="en-US" sz="2000" dirty="0">
                <a:latin typeface="Graphik Light"/>
                <a:cs typeface="Graphik Light"/>
              </a:rPr>
              <a:t> is a lightweight RTOS-based platform to support low-end </a:t>
            </a:r>
            <a:r>
              <a:rPr lang="en-US" sz="2000" dirty="0" err="1">
                <a:latin typeface="Graphik Light"/>
                <a:cs typeface="Graphik Light"/>
              </a:rPr>
              <a:t>IoT</a:t>
            </a:r>
            <a:r>
              <a:rPr lang="en-US" sz="2000" dirty="0">
                <a:latin typeface="Graphik Light"/>
                <a:cs typeface="Graphik Light"/>
              </a:rPr>
              <a:t> devices, based on </a:t>
            </a:r>
            <a:r>
              <a:rPr lang="en-US" sz="2000" dirty="0" err="1" smtClean="0">
                <a:latin typeface="Graphik Light"/>
                <a:cs typeface="Graphik Light"/>
              </a:rPr>
              <a:t>Nuttx</a:t>
            </a:r>
            <a:endParaRPr lang="en-US" sz="2000" dirty="0" smtClean="0">
              <a:latin typeface="Graphik Light"/>
              <a:cs typeface="Graphik Light"/>
            </a:endParaRPr>
          </a:p>
          <a:p>
            <a:pPr marL="228600" lvl="1">
              <a:spcBef>
                <a:spcPts val="1000"/>
              </a:spcBef>
              <a:buFont typeface="Wingdings" charset="2"/>
              <a:buChar char="§"/>
            </a:pPr>
            <a:r>
              <a:rPr lang="en-US" dirty="0" err="1" smtClean="0"/>
              <a:t>TizenRT</a:t>
            </a:r>
            <a:r>
              <a:rPr lang="en-US" dirty="0" smtClean="0"/>
              <a:t> </a:t>
            </a:r>
            <a:r>
              <a:rPr lang="en-US" dirty="0"/>
              <a:t>is </a:t>
            </a:r>
            <a:r>
              <a:rPr lang="en-US" dirty="0" err="1" smtClean="0"/>
              <a:t>Nuttx</a:t>
            </a:r>
            <a:r>
              <a:rPr lang="en-US" dirty="0" smtClean="0"/>
              <a:t> kernel </a:t>
            </a:r>
            <a:r>
              <a:rPr lang="en-US" dirty="0"/>
              <a:t>plus middle wares, it is highly configurable and suitable for small to moderate sized embedded </a:t>
            </a:r>
            <a:r>
              <a:rPr lang="en-US" dirty="0" smtClean="0"/>
              <a:t>system</a:t>
            </a:r>
            <a:endParaRPr lang="en-US" sz="2000" dirty="0">
              <a:latin typeface="Graphik Light"/>
              <a:cs typeface="Graphik Light"/>
            </a:endParaRPr>
          </a:p>
          <a:p>
            <a:pPr>
              <a:buFont typeface="Wingdings" charset="2"/>
              <a:buChar char="§"/>
            </a:pPr>
            <a:r>
              <a:rPr lang="en-US" sz="2000" dirty="0" smtClean="0">
                <a:latin typeface="Graphik Light"/>
                <a:cs typeface="Graphik Light"/>
              </a:rPr>
              <a:t>Contains IP </a:t>
            </a:r>
            <a:r>
              <a:rPr lang="en-US" sz="2000" dirty="0">
                <a:latin typeface="Graphik Light"/>
                <a:cs typeface="Graphik Light"/>
              </a:rPr>
              <a:t>Network </a:t>
            </a:r>
            <a:r>
              <a:rPr lang="en-US" sz="2000" dirty="0" smtClean="0">
                <a:latin typeface="Graphik Light"/>
                <a:cs typeface="Graphik Light"/>
              </a:rPr>
              <a:t>Stack</a:t>
            </a:r>
            <a:endParaRPr lang="en-US" sz="2000" dirty="0">
              <a:latin typeface="Graphik Light"/>
              <a:cs typeface="Graphik Light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0317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zenRT</a:t>
            </a:r>
            <a:r>
              <a:rPr lang="en-US" dirty="0" smtClean="0"/>
              <a:t> OS Basics (</a:t>
            </a:r>
            <a:r>
              <a:rPr lang="en-US" dirty="0" err="1" smtClean="0"/>
              <a:t>Con’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608965" y="1851000"/>
            <a:ext cx="10961370" cy="5054600"/>
          </a:xfrm>
          <a:prstGeom prst="rect">
            <a:avLst/>
          </a:prstGeom>
        </p:spPr>
        <p:txBody>
          <a:bodyPr/>
          <a:lstStyle/>
          <a:p>
            <a:pPr>
              <a:buFont typeface="Wingdings" charset="2"/>
              <a:buChar char="§"/>
            </a:pPr>
            <a:r>
              <a:rPr lang="en-US" dirty="0" err="1" smtClean="0"/>
              <a:t>Tizen</a:t>
            </a:r>
            <a:r>
              <a:rPr lang="en-US" dirty="0" smtClean="0"/>
              <a:t> RT strives to be standards compliant.  It contains a small, scalable, bash-like shell, and it adopts Linux-style development components:</a:t>
            </a:r>
          </a:p>
          <a:p>
            <a:pPr lvl="1"/>
            <a:r>
              <a:rPr lang="en-US" sz="1400" dirty="0" smtClean="0"/>
              <a:t>POSIX API</a:t>
            </a:r>
          </a:p>
          <a:p>
            <a:pPr lvl="1"/>
            <a:r>
              <a:rPr lang="en-US" sz="1400" dirty="0" smtClean="0"/>
              <a:t>BSD Socket API</a:t>
            </a:r>
          </a:p>
          <a:p>
            <a:pPr lvl="1"/>
            <a:r>
              <a:rPr lang="en-US" sz="1400" dirty="0" smtClean="0"/>
              <a:t>TASH Shell</a:t>
            </a:r>
          </a:p>
          <a:p>
            <a:pPr lvl="1"/>
            <a:r>
              <a:rPr lang="en-US" sz="1400" dirty="0" smtClean="0"/>
              <a:t>Kconfig build configuration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79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rove Base Shield and Modules Suppor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995" y="1335357"/>
            <a:ext cx="3549931" cy="266244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2922" y="1335357"/>
            <a:ext cx="6963077" cy="396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62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EC511C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solidFill>
            <a:srgbClr val="ED7D31"/>
          </a:solidFill>
        </a:ln>
      </a:spPr>
      <a:bodyPr wrap="square" rtlCol="0">
        <a:spAutoFit/>
      </a:bodyPr>
      <a:lstStyle>
        <a:defPPr>
          <a:buClr>
            <a:schemeClr val="accent2"/>
          </a:buClr>
          <a:defRPr b="1" dirty="0" smtClean="0">
            <a:solidFill>
              <a:srgbClr val="ED7D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049</TotalTime>
  <Words>1488</Words>
  <Application>Microsoft Macintosh PowerPoint</Application>
  <PresentationFormat>Custom</PresentationFormat>
  <Paragraphs>165</Paragraphs>
  <Slides>20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ffice Theme</vt:lpstr>
      <vt:lpstr>think-cell Slide</vt:lpstr>
      <vt:lpstr>PowerPoint Presentation</vt:lpstr>
      <vt:lpstr>Samsung ARTIK™  053/053s, 055s Wi-Fi® edge nodes Create secure, next-gen edge products </vt:lpstr>
      <vt:lpstr>ARTIK 05x Starter Board</vt:lpstr>
      <vt:lpstr>Wi-Fi Subsystem</vt:lpstr>
      <vt:lpstr>Samsung ARTIK™  05x WiFi – wpa_supplicant</vt:lpstr>
      <vt:lpstr>Samsung ARTIK™  05x Power Management</vt:lpstr>
      <vt:lpstr>TizenRT OS Basics</vt:lpstr>
      <vt:lpstr>TizenRT OS Basics (Con’t)</vt:lpstr>
      <vt:lpstr>Grove Base Shield and Modules Support</vt:lpstr>
      <vt:lpstr>Shoreline iCast2 Modbus Solution ARTIK 05x</vt:lpstr>
      <vt:lpstr>Voice-enabled switch ARTIK 05x, ARTIK 530 SoMs and AVS Gateway</vt:lpstr>
      <vt:lpstr>Smart appliances and edge analytics ARTIK 055s SoM and Axon Predict Edge Analytics</vt:lpstr>
      <vt:lpstr>Location based service ARTIK 05x</vt:lpstr>
      <vt:lpstr>PowerPoint Presentation</vt:lpstr>
      <vt:lpstr>Message Queue Telemetry Transport (MQTT)</vt:lpstr>
      <vt:lpstr>Message Queue Telemetry Transport (MQTT)</vt:lpstr>
      <vt:lpstr>Message Queue Telemetry Transport (MQTT)</vt:lpstr>
      <vt:lpstr>Message Queue Telemetry Transport (MQTT)</vt:lpstr>
      <vt:lpstr>Message Queue Telemetry Transport (MQTT)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Macedo</dc:creator>
  <cp:lastModifiedBy>Wei Xiao</cp:lastModifiedBy>
  <cp:revision>2050</cp:revision>
  <cp:lastPrinted>2017-10-24T00:58:01Z</cp:lastPrinted>
  <dcterms:created xsi:type="dcterms:W3CDTF">2016-11-18T13:11:15Z</dcterms:created>
  <dcterms:modified xsi:type="dcterms:W3CDTF">2018-10-29T15:22:18Z</dcterms:modified>
</cp:coreProperties>
</file>